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</p:sldMasterIdLst>
  <p:notesMasterIdLst>
    <p:notesMasterId r:id="rId17"/>
  </p:notesMasterIdLst>
  <p:handoutMasterIdLst>
    <p:handoutMasterId r:id="rId18"/>
  </p:handoutMasterIdLst>
  <p:sldIdLst>
    <p:sldId id="393" r:id="rId2"/>
    <p:sldId id="395" r:id="rId3"/>
    <p:sldId id="401" r:id="rId4"/>
    <p:sldId id="405" r:id="rId5"/>
    <p:sldId id="396" r:id="rId6"/>
    <p:sldId id="384" r:id="rId7"/>
    <p:sldId id="397" r:id="rId8"/>
    <p:sldId id="398" r:id="rId9"/>
    <p:sldId id="399" r:id="rId10"/>
    <p:sldId id="400" r:id="rId11"/>
    <p:sldId id="385" r:id="rId12"/>
    <p:sldId id="402" r:id="rId13"/>
    <p:sldId id="403" r:id="rId14"/>
    <p:sldId id="404" r:id="rId15"/>
    <p:sldId id="390" r:id="rId16"/>
  </p:sldIdLst>
  <p:sldSz cx="12192000" cy="6858000"/>
  <p:notesSz cx="7315200" cy="96012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eu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9042"/>
    <a:srgbClr val="73AF51"/>
    <a:srgbClr val="1251B1"/>
    <a:srgbClr val="E38008"/>
    <a:srgbClr val="0B5D7F"/>
    <a:srgbClr val="1081AD"/>
    <a:srgbClr val="0D6F95"/>
    <a:srgbClr val="085C7C"/>
    <a:srgbClr val="E6E6E6"/>
    <a:srgbClr val="E9E9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466" autoAdjust="0"/>
    <p:restoredTop sz="93969" autoAdjust="0"/>
  </p:normalViewPr>
  <p:slideViewPr>
    <p:cSldViewPr snapToGrid="0" snapToObjects="1">
      <p:cViewPr varScale="1">
        <p:scale>
          <a:sx n="74" d="100"/>
          <a:sy n="74" d="100"/>
        </p:scale>
        <p:origin x="270" y="72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45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2472" y="90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0611" y="4348915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4264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4524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00"/>
              <a:t>Image source: https://www.pexels.com/photo/person-using-macbook-374720/</a:t>
            </a:r>
          </a:p>
          <a:p>
            <a:endParaRPr lang="en-IN" sz="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929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026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can safely remove this slide. This slide</a:t>
            </a:r>
            <a:r>
              <a:rPr lang="en-US" baseline="0"/>
              <a:t> design was provided by SlideModel.com – You can download more templates, shapes and elements for PowerPoint from http://slidemodel.c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254F-9338-4BA9-B7AC-A66622A3D013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72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7338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xmlns="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xmlns="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xmlns="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xmlns="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  <a:endParaRPr lang="en-US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xmlns="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SlideModel.com</a:t>
            </a:r>
          </a:p>
        </p:txBody>
      </p:sp>
    </p:spTree>
    <p:extLst>
      <p:ext uri="{BB962C8B-B14F-4D97-AF65-F5344CB8AC3E}">
        <p14:creationId xmlns:p14="http://schemas.microsoft.com/office/powerpoint/2010/main" val="7410150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42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1325281" y="-1"/>
            <a:ext cx="5195129" cy="4674887"/>
          </a:xfrm>
          <a:custGeom>
            <a:avLst/>
            <a:gdLst>
              <a:gd name="connsiteX0" fmla="*/ 1257458 w 5195129"/>
              <a:gd name="connsiteY0" fmla="*/ 0 h 4674887"/>
              <a:gd name="connsiteX1" fmla="*/ 4888355 w 5195129"/>
              <a:gd name="connsiteY1" fmla="*/ 0 h 4674887"/>
              <a:gd name="connsiteX2" fmla="*/ 4897797 w 5195129"/>
              <a:gd name="connsiteY2" fmla="*/ 10583 h 4674887"/>
              <a:gd name="connsiteX3" fmla="*/ 4991734 w 5195129"/>
              <a:gd name="connsiteY3" fmla="*/ 153016 h 4674887"/>
              <a:gd name="connsiteX4" fmla="*/ 5155578 w 5195129"/>
              <a:gd name="connsiteY4" fmla="*/ 618243 h 4674887"/>
              <a:gd name="connsiteX5" fmla="*/ 5191863 w 5195129"/>
              <a:gd name="connsiteY5" fmla="*/ 1214314 h 4674887"/>
              <a:gd name="connsiteX6" fmla="*/ 5140212 w 5195129"/>
              <a:gd name="connsiteY6" fmla="*/ 1702059 h 4674887"/>
              <a:gd name="connsiteX7" fmla="*/ 5065164 w 5195129"/>
              <a:gd name="connsiteY7" fmla="*/ 2086547 h 4674887"/>
              <a:gd name="connsiteX8" fmla="*/ 4969982 w 5195129"/>
              <a:gd name="connsiteY8" fmla="*/ 2462239 h 4674887"/>
              <a:gd name="connsiteX9" fmla="*/ 4966842 w 5195129"/>
              <a:gd name="connsiteY9" fmla="*/ 2481819 h 4674887"/>
              <a:gd name="connsiteX10" fmla="*/ 4948658 w 5195129"/>
              <a:gd name="connsiteY10" fmla="*/ 2545371 h 4674887"/>
              <a:gd name="connsiteX11" fmla="*/ 4938561 w 5195129"/>
              <a:gd name="connsiteY11" fmla="*/ 2572055 h 4674887"/>
              <a:gd name="connsiteX12" fmla="*/ 4784773 w 5195129"/>
              <a:gd name="connsiteY12" fmla="*/ 3040688 h 4674887"/>
              <a:gd name="connsiteX13" fmla="*/ 4548619 w 5195129"/>
              <a:gd name="connsiteY13" fmla="*/ 3590655 h 4674887"/>
              <a:gd name="connsiteX14" fmla="*/ 4250458 w 5195129"/>
              <a:gd name="connsiteY14" fmla="*/ 4073335 h 4674887"/>
              <a:gd name="connsiteX15" fmla="*/ 3878856 w 5195129"/>
              <a:gd name="connsiteY15" fmla="*/ 4443497 h 4674887"/>
              <a:gd name="connsiteX16" fmla="*/ 3186482 w 5195129"/>
              <a:gd name="connsiteY16" fmla="*/ 4674862 h 4674887"/>
              <a:gd name="connsiteX17" fmla="*/ 2891514 w 5195129"/>
              <a:gd name="connsiteY17" fmla="*/ 4643798 h 4674887"/>
              <a:gd name="connsiteX18" fmla="*/ 2828700 w 5195129"/>
              <a:gd name="connsiteY18" fmla="*/ 4634421 h 4674887"/>
              <a:gd name="connsiteX19" fmla="*/ 2731286 w 5195129"/>
              <a:gd name="connsiteY19" fmla="*/ 4606548 h 4674887"/>
              <a:gd name="connsiteX20" fmla="*/ 2693489 w 5195129"/>
              <a:gd name="connsiteY20" fmla="*/ 4588909 h 4674887"/>
              <a:gd name="connsiteX21" fmla="*/ 2259009 w 5195129"/>
              <a:gd name="connsiteY21" fmla="*/ 4386231 h 4674887"/>
              <a:gd name="connsiteX22" fmla="*/ 1725702 w 5195129"/>
              <a:gd name="connsiteY22" fmla="*/ 4009169 h 4674887"/>
              <a:gd name="connsiteX23" fmla="*/ 1036282 w 5195129"/>
              <a:gd name="connsiteY23" fmla="*/ 3354127 h 4674887"/>
              <a:gd name="connsiteX24" fmla="*/ 456082 w 5195129"/>
              <a:gd name="connsiteY24" fmla="*/ 2640093 h 4674887"/>
              <a:gd name="connsiteX25" fmla="*/ 152116 w 5195129"/>
              <a:gd name="connsiteY25" fmla="*/ 2096603 h 4674887"/>
              <a:gd name="connsiteX26" fmla="*/ 13326 w 5195129"/>
              <a:gd name="connsiteY26" fmla="*/ 1617813 h 4674887"/>
              <a:gd name="connsiteX27" fmla="*/ 19959 w 5195129"/>
              <a:gd name="connsiteY27" fmla="*/ 1209959 h 4674887"/>
              <a:gd name="connsiteX28" fmla="*/ 31259 w 5195129"/>
              <a:gd name="connsiteY28" fmla="*/ 1142921 h 4674887"/>
              <a:gd name="connsiteX29" fmla="*/ 53053 w 5195129"/>
              <a:gd name="connsiteY29" fmla="*/ 1066752 h 4674887"/>
              <a:gd name="connsiteX30" fmla="*/ 61817 w 5195129"/>
              <a:gd name="connsiteY30" fmla="*/ 1049035 h 4674887"/>
              <a:gd name="connsiteX31" fmla="*/ 105769 w 5195129"/>
              <a:gd name="connsiteY31" fmla="*/ 941036 h 4674887"/>
              <a:gd name="connsiteX32" fmla="*/ 367836 w 5195129"/>
              <a:gd name="connsiteY32" fmla="*/ 565570 h 4674887"/>
              <a:gd name="connsiteX33" fmla="*/ 837097 w 5195129"/>
              <a:gd name="connsiteY33" fmla="*/ 206920 h 4674887"/>
              <a:gd name="connsiteX34" fmla="*/ 1121761 w 5195129"/>
              <a:gd name="connsiteY34" fmla="*/ 57235 h 46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195129" h="4674887">
                <a:moveTo>
                  <a:pt x="1257458" y="0"/>
                </a:moveTo>
                <a:lnTo>
                  <a:pt x="4888355" y="0"/>
                </a:lnTo>
                <a:lnTo>
                  <a:pt x="4897797" y="10583"/>
                </a:lnTo>
                <a:cubicBezTo>
                  <a:pt x="4932002" y="55083"/>
                  <a:pt x="4963329" y="102548"/>
                  <a:pt x="4991734" y="153016"/>
                </a:cubicBezTo>
                <a:cubicBezTo>
                  <a:pt x="5073471" y="298496"/>
                  <a:pt x="5124502" y="454903"/>
                  <a:pt x="5155578" y="618243"/>
                </a:cubicBezTo>
                <a:cubicBezTo>
                  <a:pt x="5192956" y="815490"/>
                  <a:pt x="5200577" y="1014331"/>
                  <a:pt x="5191863" y="1214314"/>
                </a:cubicBezTo>
                <a:cubicBezTo>
                  <a:pt x="5184425" y="1378006"/>
                  <a:pt x="5166047" y="1540340"/>
                  <a:pt x="5140212" y="1702059"/>
                </a:cubicBezTo>
                <a:cubicBezTo>
                  <a:pt x="5119763" y="1831189"/>
                  <a:pt x="5095537" y="1959748"/>
                  <a:pt x="5065164" y="2086547"/>
                </a:cubicBezTo>
                <a:cubicBezTo>
                  <a:pt x="5035290" y="2212477"/>
                  <a:pt x="5001840" y="2337131"/>
                  <a:pt x="4969982" y="2462239"/>
                </a:cubicBezTo>
                <a:cubicBezTo>
                  <a:pt x="4968404" y="2468613"/>
                  <a:pt x="4967964" y="2475314"/>
                  <a:pt x="4966842" y="2481819"/>
                </a:cubicBezTo>
                <a:lnTo>
                  <a:pt x="4948658" y="2545371"/>
                </a:lnTo>
                <a:cubicBezTo>
                  <a:pt x="4945367" y="2554287"/>
                  <a:pt x="4941394" y="2563009"/>
                  <a:pt x="4938561" y="2572055"/>
                </a:cubicBezTo>
                <a:cubicBezTo>
                  <a:pt x="4891773" y="2729547"/>
                  <a:pt x="4841279" y="2886230"/>
                  <a:pt x="4784773" y="3040688"/>
                </a:cubicBezTo>
                <a:cubicBezTo>
                  <a:pt x="4715843" y="3228242"/>
                  <a:pt x="4638756" y="3412454"/>
                  <a:pt x="4548619" y="3590655"/>
                </a:cubicBezTo>
                <a:cubicBezTo>
                  <a:pt x="4462746" y="3759964"/>
                  <a:pt x="4366041" y="3922386"/>
                  <a:pt x="4250458" y="4073335"/>
                </a:cubicBezTo>
                <a:cubicBezTo>
                  <a:pt x="4143196" y="4213270"/>
                  <a:pt x="4022542" y="4339769"/>
                  <a:pt x="3878856" y="4443497"/>
                </a:cubicBezTo>
                <a:cubicBezTo>
                  <a:pt x="3672253" y="4592420"/>
                  <a:pt x="3442748" y="4673364"/>
                  <a:pt x="3186482" y="4674862"/>
                </a:cubicBezTo>
                <a:cubicBezTo>
                  <a:pt x="3087070" y="4675486"/>
                  <a:pt x="2988750" y="4664545"/>
                  <a:pt x="2891514" y="4643798"/>
                </a:cubicBezTo>
                <a:cubicBezTo>
                  <a:pt x="2870856" y="4639405"/>
                  <a:pt x="2849760" y="4637412"/>
                  <a:pt x="2828700" y="4634421"/>
                </a:cubicBezTo>
                <a:lnTo>
                  <a:pt x="2731286" y="4606548"/>
                </a:lnTo>
                <a:cubicBezTo>
                  <a:pt x="2718686" y="4600669"/>
                  <a:pt x="2706718" y="4593450"/>
                  <a:pt x="2693489" y="4588909"/>
                </a:cubicBezTo>
                <a:cubicBezTo>
                  <a:pt x="2541742" y="4536644"/>
                  <a:pt x="2397648" y="4467102"/>
                  <a:pt x="2259009" y="4386231"/>
                </a:cubicBezTo>
                <a:cubicBezTo>
                  <a:pt x="2070375" y="4276141"/>
                  <a:pt x="1894025" y="4148078"/>
                  <a:pt x="1725702" y="4009169"/>
                </a:cubicBezTo>
                <a:cubicBezTo>
                  <a:pt x="1480355" y="3807273"/>
                  <a:pt x="1253033" y="3586266"/>
                  <a:pt x="1036282" y="3354127"/>
                </a:cubicBezTo>
                <a:cubicBezTo>
                  <a:pt x="826552" y="3129305"/>
                  <a:pt x="629305" y="2894407"/>
                  <a:pt x="456082" y="2640093"/>
                </a:cubicBezTo>
                <a:cubicBezTo>
                  <a:pt x="338927" y="2467797"/>
                  <a:pt x="234138" y="2288421"/>
                  <a:pt x="152116" y="2096603"/>
                </a:cubicBezTo>
                <a:cubicBezTo>
                  <a:pt x="86077" y="1942724"/>
                  <a:pt x="36464" y="1783939"/>
                  <a:pt x="13326" y="1617813"/>
                </a:cubicBezTo>
                <a:cubicBezTo>
                  <a:pt x="-5531" y="1481481"/>
                  <a:pt x="-5295" y="1345552"/>
                  <a:pt x="19959" y="1209959"/>
                </a:cubicBezTo>
                <a:cubicBezTo>
                  <a:pt x="24128" y="1187644"/>
                  <a:pt x="27546" y="1165366"/>
                  <a:pt x="31259" y="1142921"/>
                </a:cubicBezTo>
                <a:lnTo>
                  <a:pt x="53053" y="1066752"/>
                </a:lnTo>
                <a:cubicBezTo>
                  <a:pt x="55998" y="1060766"/>
                  <a:pt x="59555" y="1055213"/>
                  <a:pt x="61817" y="1049035"/>
                </a:cubicBezTo>
                <a:cubicBezTo>
                  <a:pt x="76541" y="1013058"/>
                  <a:pt x="89516" y="976325"/>
                  <a:pt x="105769" y="941036"/>
                </a:cubicBezTo>
                <a:cubicBezTo>
                  <a:pt x="170030" y="799921"/>
                  <a:pt x="260001" y="676524"/>
                  <a:pt x="367836" y="565570"/>
                </a:cubicBezTo>
                <a:cubicBezTo>
                  <a:pt x="506395" y="422961"/>
                  <a:pt x="666033" y="307366"/>
                  <a:pt x="837097" y="206920"/>
                </a:cubicBezTo>
                <a:cubicBezTo>
                  <a:pt x="929764" y="152419"/>
                  <a:pt x="1024798" y="102766"/>
                  <a:pt x="1121761" y="57235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CBF662B1-E5B0-48D2-B39D-43A30B4B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1" y="230314"/>
            <a:ext cx="5104002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142802C-AEEA-4B92-B5B3-0756576E8F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1" y="843417"/>
            <a:ext cx="5104001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3371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4"/>
            <a:ext cx="7665776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7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612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xmlns="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xmlns="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567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7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xmlns="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026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xmlns="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5907473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230315"/>
            <a:ext cx="6620744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634D9C7A-5BAD-4769-A6FA-F5D17B27AC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7" y="843417"/>
            <a:ext cx="6620744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118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199086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82560FEA-821F-4038-85D3-E058A399F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63246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695859B5-3F97-4723-B598-3A1EF775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63245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633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7135972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55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N°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3900" y="230315"/>
            <a:ext cx="10820400" cy="584775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5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/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95" r:id="rId2"/>
    <p:sldLayoutId id="2147483673" r:id="rId3"/>
    <p:sldLayoutId id="2147483674" r:id="rId4"/>
    <p:sldLayoutId id="2147483693" r:id="rId5"/>
    <p:sldLayoutId id="2147483670" r:id="rId6"/>
    <p:sldLayoutId id="2147483690" r:id="rId7"/>
    <p:sldLayoutId id="2147483691" r:id="rId8"/>
    <p:sldLayoutId id="2147483692" r:id="rId9"/>
    <p:sldLayoutId id="2147483694" r:id="rId10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lang="en-US" sz="3200" b="1" kern="0" baseline="0" noProof="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3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>
            <a:extLst>
              <a:ext uri="{FF2B5EF4-FFF2-40B4-BE49-F238E27FC236}">
                <a16:creationId xmlns:a16="http://schemas.microsoft.com/office/drawing/2014/main" xmlns="" id="{53C93CB1-E54B-4CBB-B908-61F0DBCB68DC}"/>
              </a:ext>
            </a:extLst>
          </p:cNvPr>
          <p:cNvSpPr/>
          <p:nvPr/>
        </p:nvSpPr>
        <p:spPr>
          <a:xfrm>
            <a:off x="6366139" y="3620190"/>
            <a:ext cx="4387781" cy="323781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xmlns="" id="{768D9E06-35BB-44D6-AA4E-4A122F5CCE2D}"/>
              </a:ext>
            </a:extLst>
          </p:cNvPr>
          <p:cNvSpPr/>
          <p:nvPr/>
        </p:nvSpPr>
        <p:spPr>
          <a:xfrm>
            <a:off x="-3073637" y="2528718"/>
            <a:ext cx="5866910" cy="4329282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xmlns="" id="{272DCCE5-82ED-40AB-B635-3F2CEBDDE18D}"/>
              </a:ext>
            </a:extLst>
          </p:cNvPr>
          <p:cNvSpPr/>
          <p:nvPr/>
        </p:nvSpPr>
        <p:spPr>
          <a:xfrm rot="10800000">
            <a:off x="6096000" y="-4405"/>
            <a:ext cx="6217025" cy="4587637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36E121B4-983D-45E9-B113-36ACF06F55B0}"/>
              </a:ext>
            </a:extLst>
          </p:cNvPr>
          <p:cNvSpPr/>
          <p:nvPr/>
        </p:nvSpPr>
        <p:spPr>
          <a:xfrm rot="10800000">
            <a:off x="5356283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xmlns="" id="{DF4DDF27-E3AE-4FDA-9A66-7C95955FE16E}"/>
              </a:ext>
            </a:extLst>
          </p:cNvPr>
          <p:cNvSpPr txBox="1">
            <a:spLocks/>
          </p:cNvSpPr>
          <p:nvPr/>
        </p:nvSpPr>
        <p:spPr>
          <a:xfrm>
            <a:off x="1384892" y="1926418"/>
            <a:ext cx="6859208" cy="707886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GB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Subtitle 7">
            <a:extLst>
              <a:ext uri="{FF2B5EF4-FFF2-40B4-BE49-F238E27FC236}">
                <a16:creationId xmlns:a16="http://schemas.microsoft.com/office/drawing/2014/main" xmlns="" id="{2477E8EB-525B-4F55-B72F-5F02A681B722}"/>
              </a:ext>
            </a:extLst>
          </p:cNvPr>
          <p:cNvSpPr txBox="1">
            <a:spLocks/>
          </p:cNvSpPr>
          <p:nvPr/>
        </p:nvSpPr>
        <p:spPr>
          <a:xfrm>
            <a:off x="2224665" y="4545763"/>
            <a:ext cx="6424600" cy="1073548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kern="0" dirty="0"/>
              <a:t> </a:t>
            </a:r>
            <a:r>
              <a:rPr lang="en-GB" kern="0" dirty="0" smtClean="0"/>
              <a:t>           </a:t>
            </a:r>
            <a:r>
              <a:rPr lang="en-GB" b="1" i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mi</a:t>
            </a:r>
            <a:r>
              <a:rPr lang="en-GB" b="1" i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b="1" i="1" kern="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ya</a:t>
            </a:r>
            <a:endParaRPr lang="en-GB" b="1" i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kern="0" dirty="0"/>
              <a:t> </a:t>
            </a:r>
            <a:r>
              <a:rPr lang="en-GB" kern="0" dirty="0" smtClean="0"/>
              <a:t>           </a:t>
            </a:r>
            <a:r>
              <a:rPr lang="en-GB" b="1" i="1" kern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 Mansour </a:t>
            </a:r>
            <a:r>
              <a:rPr lang="en-GB" b="1" i="1" kern="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en</a:t>
            </a:r>
            <a:endParaRPr lang="en-GB" b="1" i="1" kern="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kern="0" dirty="0"/>
              <a:t> </a:t>
            </a:r>
            <a:r>
              <a:rPr lang="en-GB" kern="0" dirty="0" smtClean="0"/>
              <a:t>           </a:t>
            </a:r>
            <a:r>
              <a:rPr lang="en-GB" b="1" i="1" kern="0" dirty="0" err="1" smtClean="0">
                <a:solidFill>
                  <a:srgbClr val="0070C0"/>
                </a:solidFill>
              </a:rPr>
              <a:t>Melliti</a:t>
            </a:r>
            <a:r>
              <a:rPr lang="en-GB" b="1" i="1" kern="0" dirty="0" smtClean="0">
                <a:solidFill>
                  <a:srgbClr val="0070C0"/>
                </a:solidFill>
              </a:rPr>
              <a:t> Islam</a:t>
            </a:r>
          </a:p>
          <a:p>
            <a:r>
              <a:rPr lang="en-GB" b="1" i="1" kern="0" dirty="0">
                <a:solidFill>
                  <a:srgbClr val="002060"/>
                </a:solidFill>
              </a:rPr>
              <a:t> </a:t>
            </a:r>
            <a:r>
              <a:rPr lang="en-GB" b="1" i="1" kern="0" dirty="0" smtClean="0">
                <a:solidFill>
                  <a:srgbClr val="002060"/>
                </a:solidFill>
              </a:rPr>
              <a:t>           </a:t>
            </a:r>
            <a:r>
              <a:rPr lang="en-GB" b="1" i="1" kern="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hli</a:t>
            </a:r>
            <a:r>
              <a:rPr lang="en-GB" b="1" i="1" kern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sma</a:t>
            </a:r>
            <a:endParaRPr lang="en-GB" b="1" i="1" kern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xmlns="" id="{47D4ECEE-A0E7-41B0-ABFD-0920356FB106}"/>
              </a:ext>
            </a:extLst>
          </p:cNvPr>
          <p:cNvSpPr txBox="1">
            <a:spLocks/>
          </p:cNvSpPr>
          <p:nvPr/>
        </p:nvSpPr>
        <p:spPr>
          <a:xfrm>
            <a:off x="857115" y="3893795"/>
            <a:ext cx="6841373" cy="430887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IN" sz="2800" kern="0" dirty="0"/>
              <a:t> </a:t>
            </a:r>
            <a:r>
              <a:rPr lang="en-IN" sz="2800" kern="0" dirty="0" smtClean="0"/>
              <a:t>    </a:t>
            </a:r>
            <a:r>
              <a:rPr lang="fr-FR" sz="2800" b="1" i="1" kern="0" dirty="0" smtClean="0">
                <a:solidFill>
                  <a:schemeClr val="tx2"/>
                </a:solidFill>
              </a:rPr>
              <a:t>Réalisé</a:t>
            </a:r>
            <a:r>
              <a:rPr lang="en-IN" sz="2800" b="1" i="1" kern="0" dirty="0" smtClean="0">
                <a:solidFill>
                  <a:schemeClr val="tx2"/>
                </a:solidFill>
              </a:rPr>
              <a:t> par :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xmlns="" id="{36EDA263-0083-49CE-82CA-70184DA49DBB}"/>
              </a:ext>
            </a:extLst>
          </p:cNvPr>
          <p:cNvSpPr/>
          <p:nvPr/>
        </p:nvSpPr>
        <p:spPr>
          <a:xfrm rot="5400000">
            <a:off x="1045644" y="2047663"/>
            <a:ext cx="350163" cy="274423"/>
          </a:xfrm>
          <a:prstGeom prst="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124F67C5-4E30-4A18-81B7-8287FF7A66FE}"/>
              </a:ext>
            </a:extLst>
          </p:cNvPr>
          <p:cNvGrpSpPr/>
          <p:nvPr/>
        </p:nvGrpSpPr>
        <p:grpSpPr>
          <a:xfrm>
            <a:off x="7940040" y="603921"/>
            <a:ext cx="2331720" cy="1109347"/>
            <a:chOff x="7940040" y="603921"/>
            <a:chExt cx="2331720" cy="110934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79F60935-C7C9-49E8-8E64-C2EA57E153E4}"/>
                </a:ext>
              </a:extLst>
            </p:cNvPr>
            <p:cNvSpPr/>
            <p:nvPr/>
          </p:nvSpPr>
          <p:spPr>
            <a:xfrm>
              <a:off x="8279452" y="787580"/>
              <a:ext cx="1709122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000" kern="0" dirty="0">
                  <a:solidFill>
                    <a:schemeClr val="bg1"/>
                  </a:solidFill>
                </a:rPr>
                <a:t>INSERT </a:t>
              </a:r>
            </a:p>
            <a:p>
              <a:pPr algn="ctr"/>
              <a:r>
                <a:rPr lang="en-IN" sz="2000" kern="0" dirty="0">
                  <a:solidFill>
                    <a:schemeClr val="bg1"/>
                  </a:solidFill>
                </a:rPr>
                <a:t>LOGO HER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26A089CA-A49A-42E2-9588-FA028EAF01F5}"/>
                </a:ext>
              </a:extLst>
            </p:cNvPr>
            <p:cNvSpPr/>
            <p:nvPr/>
          </p:nvSpPr>
          <p:spPr>
            <a:xfrm>
              <a:off x="7940040" y="603921"/>
              <a:ext cx="2331720" cy="1109347"/>
            </a:xfrm>
            <a:prstGeom prst="rect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err="1">
                <a:solidFill>
                  <a:schemeClr val="accent4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473990" y="1982628"/>
            <a:ext cx="547457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éalisation d’une application web</a:t>
            </a:r>
          </a:p>
          <a:p>
            <a:r>
              <a:rPr lang="fr-FR" sz="28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28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avec HTML5,php,css,bootstrap</a:t>
            </a:r>
          </a:p>
          <a:p>
            <a:r>
              <a:rPr lang="fr-FR" sz="28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fr-FR" sz="2800" b="1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avascript,Jquery</a:t>
            </a:r>
            <a:r>
              <a:rPr lang="fr-FR" sz="28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t </a:t>
            </a:r>
            <a:r>
              <a:rPr lang="fr-FR" sz="2800" b="1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ysql</a:t>
            </a:r>
            <a:endParaRPr lang="fr-FR" sz="2800" b="1" i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131" y="274517"/>
            <a:ext cx="2678609" cy="186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763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9" grpId="0" animBg="1"/>
      <p:bldP spid="2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E11114-A52A-4A54-9812-2B97ADC9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 smtClean="0"/>
              <a:t>Plan</a:t>
            </a:r>
            <a:endParaRPr lang="en-IN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B0FE189-EDB3-470E-BE4C-5DCD3F1BE28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2450" y="2076941"/>
            <a:ext cx="946311" cy="96456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B70AE4E-698B-405F-8135-09725685648C}"/>
              </a:ext>
            </a:extLst>
          </p:cNvPr>
          <p:cNvCxnSpPr>
            <a:cxnSpLocks/>
          </p:cNvCxnSpPr>
          <p:nvPr/>
        </p:nvCxnSpPr>
        <p:spPr>
          <a:xfrm flipV="1">
            <a:off x="2629243" y="2852906"/>
            <a:ext cx="1383049" cy="668585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EC5C21E-6F76-4FC0-86C0-4B64DB06EBB7}"/>
              </a:ext>
            </a:extLst>
          </p:cNvPr>
          <p:cNvCxnSpPr>
            <a:cxnSpLocks/>
            <a:stCxn id="3" idx="6"/>
            <a:endCxn id="8" idx="2"/>
          </p:cNvCxnSpPr>
          <p:nvPr/>
        </p:nvCxnSpPr>
        <p:spPr>
          <a:xfrm>
            <a:off x="2713584" y="3813023"/>
            <a:ext cx="1932480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80C5F7F-0AF1-4CBB-BA02-44081638F827}"/>
              </a:ext>
            </a:extLst>
          </p:cNvPr>
          <p:cNvCxnSpPr>
            <a:cxnSpLocks/>
          </p:cNvCxnSpPr>
          <p:nvPr/>
        </p:nvCxnSpPr>
        <p:spPr>
          <a:xfrm>
            <a:off x="2565769" y="4235930"/>
            <a:ext cx="1446522" cy="560137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BFCF6D79-4150-4F75-A06B-8DB25C19226E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146131" y="4601690"/>
            <a:ext cx="1012630" cy="947415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xmlns="" id="{6D580469-BE66-415D-8B5B-0A2CE94AF10D}"/>
              </a:ext>
            </a:extLst>
          </p:cNvPr>
          <p:cNvSpPr/>
          <p:nvPr/>
        </p:nvSpPr>
        <p:spPr>
          <a:xfrm>
            <a:off x="2983004" y="1052553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4B8840A-00BC-4934-9B5E-4D399BC7F537}"/>
              </a:ext>
            </a:extLst>
          </p:cNvPr>
          <p:cNvSpPr/>
          <p:nvPr/>
        </p:nvSpPr>
        <p:spPr>
          <a:xfrm>
            <a:off x="3899564" y="2132751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6A64479A-27BB-4272-AE59-CF09EA649029}"/>
              </a:ext>
            </a:extLst>
          </p:cNvPr>
          <p:cNvSpPr/>
          <p:nvPr/>
        </p:nvSpPr>
        <p:spPr>
          <a:xfrm>
            <a:off x="4646064" y="3212950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0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0D5B57F-5932-407B-8D34-88AFB9FDEA1D}"/>
              </a:ext>
            </a:extLst>
          </p:cNvPr>
          <p:cNvSpPr/>
          <p:nvPr/>
        </p:nvSpPr>
        <p:spPr>
          <a:xfrm>
            <a:off x="3990644" y="4310746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3E87B7AD-47F2-4759-8138-6244B81F2685}"/>
              </a:ext>
            </a:extLst>
          </p:cNvPr>
          <p:cNvSpPr/>
          <p:nvPr/>
        </p:nvSpPr>
        <p:spPr>
          <a:xfrm>
            <a:off x="2983004" y="5373348"/>
            <a:ext cx="1200146" cy="1200145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5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E751E3FC-224F-42A4-827D-C6EC2FEA6EE3}"/>
              </a:ext>
            </a:extLst>
          </p:cNvPr>
          <p:cNvSpPr/>
          <p:nvPr/>
        </p:nvSpPr>
        <p:spPr>
          <a:xfrm>
            <a:off x="793350" y="2852906"/>
            <a:ext cx="1920234" cy="19202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EDAFDA72-6A9C-4524-8C2B-9B5A6B977A6F}"/>
              </a:ext>
            </a:extLst>
          </p:cNvPr>
          <p:cNvSpPr/>
          <p:nvPr/>
        </p:nvSpPr>
        <p:spPr>
          <a:xfrm>
            <a:off x="981944" y="3041501"/>
            <a:ext cx="1543045" cy="1543045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/>
          </a:p>
        </p:txBody>
      </p:sp>
      <p:pic>
        <p:nvPicPr>
          <p:cNvPr id="36" name="Graphic 35" descr="Gears">
            <a:extLst>
              <a:ext uri="{FF2B5EF4-FFF2-40B4-BE49-F238E27FC236}">
                <a16:creationId xmlns:a16="http://schemas.microsoft.com/office/drawing/2014/main" xmlns="" id="{FD91B5BF-9B5C-4F68-8EA3-006140B53A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394" y="3212950"/>
            <a:ext cx="1200146" cy="12001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F10479C-F9E2-4785-A25B-7500F24279F8}"/>
              </a:ext>
            </a:extLst>
          </p:cNvPr>
          <p:cNvGrpSpPr/>
          <p:nvPr/>
        </p:nvGrpSpPr>
        <p:grpSpPr>
          <a:xfrm>
            <a:off x="4299109" y="1113326"/>
            <a:ext cx="6680201" cy="738424"/>
            <a:chOff x="4229659" y="1113326"/>
            <a:chExt cx="6680201" cy="73842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153725B8-0C53-4DA8-B643-33D5429545D9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DC3F78C-9956-4491-96D5-7F6083C04520}"/>
                </a:ext>
              </a:extLst>
            </p:cNvPr>
            <p:cNvSpPr/>
            <p:nvPr/>
          </p:nvSpPr>
          <p:spPr>
            <a:xfrm>
              <a:off x="4229659" y="1113326"/>
              <a:ext cx="462819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se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lace de la page qui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tient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e menu</a:t>
              </a:r>
              <a:endParaRPr lang="en-US" i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F510298-8A2A-4DA5-AB9F-1727FA20CFA5}"/>
              </a:ext>
            </a:extLst>
          </p:cNvPr>
          <p:cNvSpPr/>
          <p:nvPr/>
        </p:nvSpPr>
        <p:spPr>
          <a:xfrm>
            <a:off x="5359655" y="2303077"/>
            <a:ext cx="31941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ière</a:t>
            </a:r>
            <a:endParaRPr lang="en-US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0445A05D-8006-4312-AE25-B566B4CD89DA}"/>
              </a:ext>
            </a:extLst>
          </p:cNvPr>
          <p:cNvSpPr/>
          <p:nvPr/>
        </p:nvSpPr>
        <p:spPr>
          <a:xfrm>
            <a:off x="6064601" y="3462050"/>
            <a:ext cx="34419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étudiant</a:t>
            </a:r>
            <a:endParaRPr lang="en-US" sz="1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E9E6B00-BED9-4032-9276-8C9F442967AF}"/>
              </a:ext>
            </a:extLst>
          </p:cNvPr>
          <p:cNvSpPr/>
          <p:nvPr/>
        </p:nvSpPr>
        <p:spPr>
          <a:xfrm>
            <a:off x="5359655" y="4601690"/>
            <a:ext cx="36343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tilisateur</a:t>
            </a:r>
            <a:endParaRPr lang="en-US" sz="1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981C4C1C-AA86-44F5-822A-24C9D5518BD8}"/>
              </a:ext>
            </a:extLst>
          </p:cNvPr>
          <p:cNvSpPr/>
          <p:nvPr/>
        </p:nvSpPr>
        <p:spPr>
          <a:xfrm>
            <a:off x="4499637" y="5741330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accent1"/>
                </a:solidFill>
              </a:rPr>
              <a:t>Sécurisation</a:t>
            </a:r>
            <a:r>
              <a:rPr lang="en-IN" sz="1800" b="1" dirty="0">
                <a:solidFill>
                  <a:schemeClr val="accent1"/>
                </a:solidFill>
              </a:rPr>
              <a:t> par session</a:t>
            </a:r>
            <a:endParaRPr 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221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16C2A64-52B3-4BB2-B8C9-4B4395778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76999"/>
          </a:xfrm>
        </p:spPr>
        <p:txBody>
          <a:bodyPr/>
          <a:lstStyle/>
          <a:p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 </a:t>
            </a:r>
            <a:r>
              <a:rPr lang="fr-FR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partition</a:t>
            </a:r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u Travail :</a:t>
            </a:r>
            <a:endParaRPr lang="en-IN" sz="1800" b="1" i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17E3BD36-66A5-4CF1-BE24-5265DA40CF4A}"/>
              </a:ext>
            </a:extLst>
          </p:cNvPr>
          <p:cNvSpPr/>
          <p:nvPr/>
        </p:nvSpPr>
        <p:spPr>
          <a:xfrm>
            <a:off x="3655539" y="3733144"/>
            <a:ext cx="2329543" cy="2391557"/>
          </a:xfrm>
          <a:custGeom>
            <a:avLst/>
            <a:gdLst>
              <a:gd name="connsiteX0" fmla="*/ 3132 w 2329543"/>
              <a:gd name="connsiteY0" fmla="*/ 0 h 2391557"/>
              <a:gd name="connsiteX1" fmla="*/ 2329543 w 2329543"/>
              <a:gd name="connsiteY1" fmla="*/ 0 h 2391557"/>
              <a:gd name="connsiteX2" fmla="*/ 2329543 w 2329543"/>
              <a:gd name="connsiteY2" fmla="*/ 2391557 h 2391557"/>
              <a:gd name="connsiteX3" fmla="*/ 0 w 2329543"/>
              <a:gd name="connsiteY3" fmla="*/ 62014 h 2391557"/>
              <a:gd name="connsiteX4" fmla="*/ 3132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8800" dirty="0" err="1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BB4D47BD-5C09-407A-8303-FCF8C4FADF46}"/>
              </a:ext>
            </a:extLst>
          </p:cNvPr>
          <p:cNvSpPr/>
          <p:nvPr/>
        </p:nvSpPr>
        <p:spPr>
          <a:xfrm>
            <a:off x="6101194" y="3733144"/>
            <a:ext cx="2329543" cy="2391557"/>
          </a:xfrm>
          <a:custGeom>
            <a:avLst/>
            <a:gdLst>
              <a:gd name="connsiteX0" fmla="*/ 0 w 2329543"/>
              <a:gd name="connsiteY0" fmla="*/ 0 h 2391557"/>
              <a:gd name="connsiteX1" fmla="*/ 2326412 w 2329543"/>
              <a:gd name="connsiteY1" fmla="*/ 0 h 2391557"/>
              <a:gd name="connsiteX2" fmla="*/ 2329543 w 2329543"/>
              <a:gd name="connsiteY2" fmla="*/ 62014 h 2391557"/>
              <a:gd name="connsiteX3" fmla="*/ 0 w 2329543"/>
              <a:gd name="connsiteY3" fmla="*/ 2391557 h 2391557"/>
              <a:gd name="connsiteX4" fmla="*/ 0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84DD17E7-E569-4AEC-9B29-BB24CB1AB527}"/>
              </a:ext>
            </a:extLst>
          </p:cNvPr>
          <p:cNvSpPr/>
          <p:nvPr/>
        </p:nvSpPr>
        <p:spPr>
          <a:xfrm>
            <a:off x="3658671" y="1305959"/>
            <a:ext cx="2326411" cy="2267529"/>
          </a:xfrm>
          <a:custGeom>
            <a:avLst/>
            <a:gdLst>
              <a:gd name="connsiteX0" fmla="*/ 2326411 w 2326411"/>
              <a:gd name="connsiteY0" fmla="*/ 0 h 2267529"/>
              <a:gd name="connsiteX1" fmla="*/ 2326411 w 2326411"/>
              <a:gd name="connsiteY1" fmla="*/ 2267529 h 2267529"/>
              <a:gd name="connsiteX2" fmla="*/ 0 w 2326411"/>
              <a:gd name="connsiteY2" fmla="*/ 2267529 h 2267529"/>
              <a:gd name="connsiteX3" fmla="*/ 8895 w 2326411"/>
              <a:gd name="connsiteY3" fmla="*/ 2091361 h 2267529"/>
              <a:gd name="connsiteX4" fmla="*/ 2326411 w 2326411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1" h="2267529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9BC1993B-2400-421A-BAC5-CF9960221D4D}"/>
              </a:ext>
            </a:extLst>
          </p:cNvPr>
          <p:cNvSpPr/>
          <p:nvPr/>
        </p:nvSpPr>
        <p:spPr>
          <a:xfrm>
            <a:off x="6101194" y="1305959"/>
            <a:ext cx="2326412" cy="2267529"/>
          </a:xfrm>
          <a:custGeom>
            <a:avLst/>
            <a:gdLst>
              <a:gd name="connsiteX0" fmla="*/ 0 w 2326412"/>
              <a:gd name="connsiteY0" fmla="*/ 0 h 2267529"/>
              <a:gd name="connsiteX1" fmla="*/ 2317516 w 2326412"/>
              <a:gd name="connsiteY1" fmla="*/ 2091361 h 2267529"/>
              <a:gd name="connsiteX2" fmla="*/ 2326412 w 2326412"/>
              <a:gd name="connsiteY2" fmla="*/ 2267529 h 2267529"/>
              <a:gd name="connsiteX3" fmla="*/ 0 w 2326412"/>
              <a:gd name="connsiteY3" fmla="*/ 2267529 h 2267529"/>
              <a:gd name="connsiteX4" fmla="*/ 0 w 2326412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2" h="2267529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9605CDC-6465-40E6-A85F-4FF3E1D90254}"/>
              </a:ext>
            </a:extLst>
          </p:cNvPr>
          <p:cNvSpPr/>
          <p:nvPr/>
        </p:nvSpPr>
        <p:spPr>
          <a:xfrm>
            <a:off x="4669676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88BDCE6-88CF-43FA-8261-8B39713E926F}"/>
              </a:ext>
            </a:extLst>
          </p:cNvPr>
          <p:cNvSpPr/>
          <p:nvPr/>
        </p:nvSpPr>
        <p:spPr>
          <a:xfrm>
            <a:off x="6669715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2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A6E051-5F46-4B73-A900-91D79A14D665}"/>
              </a:ext>
            </a:extLst>
          </p:cNvPr>
          <p:cNvSpPr/>
          <p:nvPr/>
        </p:nvSpPr>
        <p:spPr>
          <a:xfrm>
            <a:off x="4669676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F754FAB-B13F-49C8-B079-A0F0DA095FCC}"/>
              </a:ext>
            </a:extLst>
          </p:cNvPr>
          <p:cNvSpPr/>
          <p:nvPr/>
        </p:nvSpPr>
        <p:spPr>
          <a:xfrm>
            <a:off x="6669715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4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842E4CA-302F-443A-AC75-3DAAC48ABF82}"/>
              </a:ext>
            </a:extLst>
          </p:cNvPr>
          <p:cNvSpPr/>
          <p:nvPr/>
        </p:nvSpPr>
        <p:spPr>
          <a:xfrm>
            <a:off x="643825" y="1378686"/>
            <a:ext cx="30044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b="1" i="1" dirty="0" err="1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en</a:t>
            </a:r>
            <a:endParaRPr lang="en-IN" sz="2000" b="1" i="1" dirty="0" smtClean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IN" sz="2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14EE8CA-A79C-4CD2-8128-D4570ADA03C8}"/>
              </a:ext>
            </a:extLst>
          </p:cNvPr>
          <p:cNvSpPr/>
          <p:nvPr/>
        </p:nvSpPr>
        <p:spPr>
          <a:xfrm>
            <a:off x="643825" y="1815609"/>
            <a:ext cx="30044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 smtClean="0">
                <a:solidFill>
                  <a:srgbClr val="002060"/>
                </a:solidFill>
                <a:latin typeface="+mn-lt"/>
              </a:rPr>
              <a:t>     </a:t>
            </a:r>
            <a:endParaRPr lang="en-IN" sz="20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A023652A-F384-4A4E-86A8-A3E357FD171D}"/>
              </a:ext>
            </a:extLst>
          </p:cNvPr>
          <p:cNvSpPr/>
          <p:nvPr/>
        </p:nvSpPr>
        <p:spPr>
          <a:xfrm>
            <a:off x="643825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slam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7FA9DB6-74E4-4427-8BC1-86100297B281}"/>
              </a:ext>
            </a:extLst>
          </p:cNvPr>
          <p:cNvSpPr/>
          <p:nvPr/>
        </p:nvSpPr>
        <p:spPr>
          <a:xfrm>
            <a:off x="8543718" y="1378686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err="1" smtClean="0">
                <a:solidFill>
                  <a:schemeClr val="tx2"/>
                </a:solidFill>
                <a:latin typeface="+mn-lt"/>
              </a:rPr>
              <a:t>Aya</a:t>
            </a:r>
            <a:endParaRPr lang="en-IN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F3CAD7F-EDD4-44FF-8990-3000EFF11A38}"/>
              </a:ext>
            </a:extLst>
          </p:cNvPr>
          <p:cNvSpPr/>
          <p:nvPr/>
        </p:nvSpPr>
        <p:spPr>
          <a:xfrm>
            <a:off x="8543718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sma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240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16C2A64-52B3-4BB2-B8C9-4B4395778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76999"/>
          </a:xfrm>
        </p:spPr>
        <p:txBody>
          <a:bodyPr/>
          <a:lstStyle/>
          <a:p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 </a:t>
            </a:r>
            <a:r>
              <a:rPr lang="fr-FR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partition</a:t>
            </a:r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u Travail :</a:t>
            </a:r>
            <a:endParaRPr lang="en-IN" sz="1800" b="1" i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17E3BD36-66A5-4CF1-BE24-5265DA40CF4A}"/>
              </a:ext>
            </a:extLst>
          </p:cNvPr>
          <p:cNvSpPr/>
          <p:nvPr/>
        </p:nvSpPr>
        <p:spPr>
          <a:xfrm>
            <a:off x="3655539" y="3733144"/>
            <a:ext cx="2329543" cy="2391557"/>
          </a:xfrm>
          <a:custGeom>
            <a:avLst/>
            <a:gdLst>
              <a:gd name="connsiteX0" fmla="*/ 3132 w 2329543"/>
              <a:gd name="connsiteY0" fmla="*/ 0 h 2391557"/>
              <a:gd name="connsiteX1" fmla="*/ 2329543 w 2329543"/>
              <a:gd name="connsiteY1" fmla="*/ 0 h 2391557"/>
              <a:gd name="connsiteX2" fmla="*/ 2329543 w 2329543"/>
              <a:gd name="connsiteY2" fmla="*/ 2391557 h 2391557"/>
              <a:gd name="connsiteX3" fmla="*/ 0 w 2329543"/>
              <a:gd name="connsiteY3" fmla="*/ 62014 h 2391557"/>
              <a:gd name="connsiteX4" fmla="*/ 3132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8800" dirty="0" err="1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BB4D47BD-5C09-407A-8303-FCF8C4FADF46}"/>
              </a:ext>
            </a:extLst>
          </p:cNvPr>
          <p:cNvSpPr/>
          <p:nvPr/>
        </p:nvSpPr>
        <p:spPr>
          <a:xfrm>
            <a:off x="6101194" y="3733144"/>
            <a:ext cx="2329543" cy="2391557"/>
          </a:xfrm>
          <a:custGeom>
            <a:avLst/>
            <a:gdLst>
              <a:gd name="connsiteX0" fmla="*/ 0 w 2329543"/>
              <a:gd name="connsiteY0" fmla="*/ 0 h 2391557"/>
              <a:gd name="connsiteX1" fmla="*/ 2326412 w 2329543"/>
              <a:gd name="connsiteY1" fmla="*/ 0 h 2391557"/>
              <a:gd name="connsiteX2" fmla="*/ 2329543 w 2329543"/>
              <a:gd name="connsiteY2" fmla="*/ 62014 h 2391557"/>
              <a:gd name="connsiteX3" fmla="*/ 0 w 2329543"/>
              <a:gd name="connsiteY3" fmla="*/ 2391557 h 2391557"/>
              <a:gd name="connsiteX4" fmla="*/ 0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84DD17E7-E569-4AEC-9B29-BB24CB1AB527}"/>
              </a:ext>
            </a:extLst>
          </p:cNvPr>
          <p:cNvSpPr/>
          <p:nvPr/>
        </p:nvSpPr>
        <p:spPr>
          <a:xfrm>
            <a:off x="3658671" y="1305959"/>
            <a:ext cx="2326411" cy="2267529"/>
          </a:xfrm>
          <a:custGeom>
            <a:avLst/>
            <a:gdLst>
              <a:gd name="connsiteX0" fmla="*/ 2326411 w 2326411"/>
              <a:gd name="connsiteY0" fmla="*/ 0 h 2267529"/>
              <a:gd name="connsiteX1" fmla="*/ 2326411 w 2326411"/>
              <a:gd name="connsiteY1" fmla="*/ 2267529 h 2267529"/>
              <a:gd name="connsiteX2" fmla="*/ 0 w 2326411"/>
              <a:gd name="connsiteY2" fmla="*/ 2267529 h 2267529"/>
              <a:gd name="connsiteX3" fmla="*/ 8895 w 2326411"/>
              <a:gd name="connsiteY3" fmla="*/ 2091361 h 2267529"/>
              <a:gd name="connsiteX4" fmla="*/ 2326411 w 2326411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1" h="2267529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9BC1993B-2400-421A-BAC5-CF9960221D4D}"/>
              </a:ext>
            </a:extLst>
          </p:cNvPr>
          <p:cNvSpPr/>
          <p:nvPr/>
        </p:nvSpPr>
        <p:spPr>
          <a:xfrm>
            <a:off x="6101194" y="1305959"/>
            <a:ext cx="2326412" cy="2267529"/>
          </a:xfrm>
          <a:custGeom>
            <a:avLst/>
            <a:gdLst>
              <a:gd name="connsiteX0" fmla="*/ 0 w 2326412"/>
              <a:gd name="connsiteY0" fmla="*/ 0 h 2267529"/>
              <a:gd name="connsiteX1" fmla="*/ 2317516 w 2326412"/>
              <a:gd name="connsiteY1" fmla="*/ 2091361 h 2267529"/>
              <a:gd name="connsiteX2" fmla="*/ 2326412 w 2326412"/>
              <a:gd name="connsiteY2" fmla="*/ 2267529 h 2267529"/>
              <a:gd name="connsiteX3" fmla="*/ 0 w 2326412"/>
              <a:gd name="connsiteY3" fmla="*/ 2267529 h 2267529"/>
              <a:gd name="connsiteX4" fmla="*/ 0 w 2326412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2" h="2267529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9605CDC-6465-40E6-A85F-4FF3E1D90254}"/>
              </a:ext>
            </a:extLst>
          </p:cNvPr>
          <p:cNvSpPr/>
          <p:nvPr/>
        </p:nvSpPr>
        <p:spPr>
          <a:xfrm>
            <a:off x="4669676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88BDCE6-88CF-43FA-8261-8B39713E926F}"/>
              </a:ext>
            </a:extLst>
          </p:cNvPr>
          <p:cNvSpPr/>
          <p:nvPr/>
        </p:nvSpPr>
        <p:spPr>
          <a:xfrm>
            <a:off x="6669715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2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A6E051-5F46-4B73-A900-91D79A14D665}"/>
              </a:ext>
            </a:extLst>
          </p:cNvPr>
          <p:cNvSpPr/>
          <p:nvPr/>
        </p:nvSpPr>
        <p:spPr>
          <a:xfrm>
            <a:off x="4669676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F754FAB-B13F-49C8-B079-A0F0DA095FCC}"/>
              </a:ext>
            </a:extLst>
          </p:cNvPr>
          <p:cNvSpPr/>
          <p:nvPr/>
        </p:nvSpPr>
        <p:spPr>
          <a:xfrm>
            <a:off x="6669715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4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842E4CA-302F-443A-AC75-3DAAC48ABF82}"/>
              </a:ext>
            </a:extLst>
          </p:cNvPr>
          <p:cNvSpPr/>
          <p:nvPr/>
        </p:nvSpPr>
        <p:spPr>
          <a:xfrm>
            <a:off x="643825" y="1378686"/>
            <a:ext cx="30044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b="1" i="1" dirty="0" err="1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en</a:t>
            </a:r>
            <a:endParaRPr lang="en-IN" sz="2000" b="1" i="1" dirty="0" smtClean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IN" sz="2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14EE8CA-A79C-4CD2-8128-D4570ADA03C8}"/>
              </a:ext>
            </a:extLst>
          </p:cNvPr>
          <p:cNvSpPr/>
          <p:nvPr/>
        </p:nvSpPr>
        <p:spPr>
          <a:xfrm>
            <a:off x="643825" y="1815609"/>
            <a:ext cx="30044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 smtClean="0">
                <a:solidFill>
                  <a:srgbClr val="002060"/>
                </a:solidFill>
                <a:latin typeface="+mn-lt"/>
              </a:rPr>
              <a:t>     </a:t>
            </a:r>
            <a:endParaRPr lang="en-IN" sz="20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A023652A-F384-4A4E-86A8-A3E357FD171D}"/>
              </a:ext>
            </a:extLst>
          </p:cNvPr>
          <p:cNvSpPr/>
          <p:nvPr/>
        </p:nvSpPr>
        <p:spPr>
          <a:xfrm>
            <a:off x="643825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slam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7FA9DB6-74E4-4427-8BC1-86100297B281}"/>
              </a:ext>
            </a:extLst>
          </p:cNvPr>
          <p:cNvSpPr/>
          <p:nvPr/>
        </p:nvSpPr>
        <p:spPr>
          <a:xfrm>
            <a:off x="8543718" y="1378686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err="1" smtClean="0">
                <a:solidFill>
                  <a:schemeClr val="tx2"/>
                </a:solidFill>
                <a:latin typeface="+mn-lt"/>
              </a:rPr>
              <a:t>Aya</a:t>
            </a:r>
            <a:endParaRPr lang="en-IN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F3CAD7F-EDD4-44FF-8990-3000EFF11A38}"/>
              </a:ext>
            </a:extLst>
          </p:cNvPr>
          <p:cNvSpPr/>
          <p:nvPr/>
        </p:nvSpPr>
        <p:spPr>
          <a:xfrm>
            <a:off x="8543718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sma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894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16C2A64-52B3-4BB2-B8C9-4B4395778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76999"/>
          </a:xfrm>
        </p:spPr>
        <p:txBody>
          <a:bodyPr/>
          <a:lstStyle/>
          <a:p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 </a:t>
            </a:r>
            <a:r>
              <a:rPr lang="fr-FR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partition</a:t>
            </a:r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u Travail :</a:t>
            </a:r>
            <a:endParaRPr lang="en-IN" sz="1800" b="1" i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17E3BD36-66A5-4CF1-BE24-5265DA40CF4A}"/>
              </a:ext>
            </a:extLst>
          </p:cNvPr>
          <p:cNvSpPr/>
          <p:nvPr/>
        </p:nvSpPr>
        <p:spPr>
          <a:xfrm>
            <a:off x="3655539" y="3733144"/>
            <a:ext cx="2329543" cy="2391557"/>
          </a:xfrm>
          <a:custGeom>
            <a:avLst/>
            <a:gdLst>
              <a:gd name="connsiteX0" fmla="*/ 3132 w 2329543"/>
              <a:gd name="connsiteY0" fmla="*/ 0 h 2391557"/>
              <a:gd name="connsiteX1" fmla="*/ 2329543 w 2329543"/>
              <a:gd name="connsiteY1" fmla="*/ 0 h 2391557"/>
              <a:gd name="connsiteX2" fmla="*/ 2329543 w 2329543"/>
              <a:gd name="connsiteY2" fmla="*/ 2391557 h 2391557"/>
              <a:gd name="connsiteX3" fmla="*/ 0 w 2329543"/>
              <a:gd name="connsiteY3" fmla="*/ 62014 h 2391557"/>
              <a:gd name="connsiteX4" fmla="*/ 3132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8800" dirty="0" err="1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BB4D47BD-5C09-407A-8303-FCF8C4FADF46}"/>
              </a:ext>
            </a:extLst>
          </p:cNvPr>
          <p:cNvSpPr/>
          <p:nvPr/>
        </p:nvSpPr>
        <p:spPr>
          <a:xfrm>
            <a:off x="6101194" y="3733144"/>
            <a:ext cx="2329543" cy="2391557"/>
          </a:xfrm>
          <a:custGeom>
            <a:avLst/>
            <a:gdLst>
              <a:gd name="connsiteX0" fmla="*/ 0 w 2329543"/>
              <a:gd name="connsiteY0" fmla="*/ 0 h 2391557"/>
              <a:gd name="connsiteX1" fmla="*/ 2326412 w 2329543"/>
              <a:gd name="connsiteY1" fmla="*/ 0 h 2391557"/>
              <a:gd name="connsiteX2" fmla="*/ 2329543 w 2329543"/>
              <a:gd name="connsiteY2" fmla="*/ 62014 h 2391557"/>
              <a:gd name="connsiteX3" fmla="*/ 0 w 2329543"/>
              <a:gd name="connsiteY3" fmla="*/ 2391557 h 2391557"/>
              <a:gd name="connsiteX4" fmla="*/ 0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84DD17E7-E569-4AEC-9B29-BB24CB1AB527}"/>
              </a:ext>
            </a:extLst>
          </p:cNvPr>
          <p:cNvSpPr/>
          <p:nvPr/>
        </p:nvSpPr>
        <p:spPr>
          <a:xfrm>
            <a:off x="3658671" y="1305959"/>
            <a:ext cx="2326411" cy="2267529"/>
          </a:xfrm>
          <a:custGeom>
            <a:avLst/>
            <a:gdLst>
              <a:gd name="connsiteX0" fmla="*/ 2326411 w 2326411"/>
              <a:gd name="connsiteY0" fmla="*/ 0 h 2267529"/>
              <a:gd name="connsiteX1" fmla="*/ 2326411 w 2326411"/>
              <a:gd name="connsiteY1" fmla="*/ 2267529 h 2267529"/>
              <a:gd name="connsiteX2" fmla="*/ 0 w 2326411"/>
              <a:gd name="connsiteY2" fmla="*/ 2267529 h 2267529"/>
              <a:gd name="connsiteX3" fmla="*/ 8895 w 2326411"/>
              <a:gd name="connsiteY3" fmla="*/ 2091361 h 2267529"/>
              <a:gd name="connsiteX4" fmla="*/ 2326411 w 2326411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1" h="2267529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9BC1993B-2400-421A-BAC5-CF9960221D4D}"/>
              </a:ext>
            </a:extLst>
          </p:cNvPr>
          <p:cNvSpPr/>
          <p:nvPr/>
        </p:nvSpPr>
        <p:spPr>
          <a:xfrm>
            <a:off x="6101194" y="1305959"/>
            <a:ext cx="2326412" cy="2267529"/>
          </a:xfrm>
          <a:custGeom>
            <a:avLst/>
            <a:gdLst>
              <a:gd name="connsiteX0" fmla="*/ 0 w 2326412"/>
              <a:gd name="connsiteY0" fmla="*/ 0 h 2267529"/>
              <a:gd name="connsiteX1" fmla="*/ 2317516 w 2326412"/>
              <a:gd name="connsiteY1" fmla="*/ 2091361 h 2267529"/>
              <a:gd name="connsiteX2" fmla="*/ 2326412 w 2326412"/>
              <a:gd name="connsiteY2" fmla="*/ 2267529 h 2267529"/>
              <a:gd name="connsiteX3" fmla="*/ 0 w 2326412"/>
              <a:gd name="connsiteY3" fmla="*/ 2267529 h 2267529"/>
              <a:gd name="connsiteX4" fmla="*/ 0 w 2326412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2" h="2267529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9605CDC-6465-40E6-A85F-4FF3E1D90254}"/>
              </a:ext>
            </a:extLst>
          </p:cNvPr>
          <p:cNvSpPr/>
          <p:nvPr/>
        </p:nvSpPr>
        <p:spPr>
          <a:xfrm>
            <a:off x="4669676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88BDCE6-88CF-43FA-8261-8B39713E926F}"/>
              </a:ext>
            </a:extLst>
          </p:cNvPr>
          <p:cNvSpPr/>
          <p:nvPr/>
        </p:nvSpPr>
        <p:spPr>
          <a:xfrm>
            <a:off x="6669715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2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A6E051-5F46-4B73-A900-91D79A14D665}"/>
              </a:ext>
            </a:extLst>
          </p:cNvPr>
          <p:cNvSpPr/>
          <p:nvPr/>
        </p:nvSpPr>
        <p:spPr>
          <a:xfrm>
            <a:off x="4669676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F754FAB-B13F-49C8-B079-A0F0DA095FCC}"/>
              </a:ext>
            </a:extLst>
          </p:cNvPr>
          <p:cNvSpPr/>
          <p:nvPr/>
        </p:nvSpPr>
        <p:spPr>
          <a:xfrm>
            <a:off x="6669715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4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842E4CA-302F-443A-AC75-3DAAC48ABF82}"/>
              </a:ext>
            </a:extLst>
          </p:cNvPr>
          <p:cNvSpPr/>
          <p:nvPr/>
        </p:nvSpPr>
        <p:spPr>
          <a:xfrm>
            <a:off x="643825" y="1378686"/>
            <a:ext cx="30044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b="1" i="1" dirty="0" err="1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en</a:t>
            </a:r>
            <a:endParaRPr lang="en-IN" sz="2000" b="1" i="1" dirty="0" smtClean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IN" sz="2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14EE8CA-A79C-4CD2-8128-D4570ADA03C8}"/>
              </a:ext>
            </a:extLst>
          </p:cNvPr>
          <p:cNvSpPr/>
          <p:nvPr/>
        </p:nvSpPr>
        <p:spPr>
          <a:xfrm>
            <a:off x="643825" y="1815609"/>
            <a:ext cx="30044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 smtClean="0">
                <a:solidFill>
                  <a:srgbClr val="002060"/>
                </a:solidFill>
                <a:latin typeface="+mn-lt"/>
              </a:rPr>
              <a:t>     </a:t>
            </a:r>
            <a:endParaRPr lang="en-IN" sz="20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A023652A-F384-4A4E-86A8-A3E357FD171D}"/>
              </a:ext>
            </a:extLst>
          </p:cNvPr>
          <p:cNvSpPr/>
          <p:nvPr/>
        </p:nvSpPr>
        <p:spPr>
          <a:xfrm>
            <a:off x="643825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slam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7FA9DB6-74E4-4427-8BC1-86100297B281}"/>
              </a:ext>
            </a:extLst>
          </p:cNvPr>
          <p:cNvSpPr/>
          <p:nvPr/>
        </p:nvSpPr>
        <p:spPr>
          <a:xfrm>
            <a:off x="8543718" y="1378686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err="1" smtClean="0">
                <a:solidFill>
                  <a:schemeClr val="tx2"/>
                </a:solidFill>
                <a:latin typeface="+mn-lt"/>
              </a:rPr>
              <a:t>Aya</a:t>
            </a:r>
            <a:endParaRPr lang="en-IN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F3CAD7F-EDD4-44FF-8990-3000EFF11A38}"/>
              </a:ext>
            </a:extLst>
          </p:cNvPr>
          <p:cNvSpPr/>
          <p:nvPr/>
        </p:nvSpPr>
        <p:spPr>
          <a:xfrm>
            <a:off x="8543718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sma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6823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16C2A64-52B3-4BB2-B8C9-4B4395778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76999"/>
          </a:xfrm>
        </p:spPr>
        <p:txBody>
          <a:bodyPr/>
          <a:lstStyle/>
          <a:p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 </a:t>
            </a:r>
            <a:r>
              <a:rPr lang="fr-FR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partition</a:t>
            </a:r>
            <a:r>
              <a:rPr lang="en-IN" sz="18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u Travail :</a:t>
            </a:r>
            <a:endParaRPr lang="en-IN" sz="1800" b="1" i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17E3BD36-66A5-4CF1-BE24-5265DA40CF4A}"/>
              </a:ext>
            </a:extLst>
          </p:cNvPr>
          <p:cNvSpPr/>
          <p:nvPr/>
        </p:nvSpPr>
        <p:spPr>
          <a:xfrm>
            <a:off x="3655539" y="3733144"/>
            <a:ext cx="2329543" cy="2391557"/>
          </a:xfrm>
          <a:custGeom>
            <a:avLst/>
            <a:gdLst>
              <a:gd name="connsiteX0" fmla="*/ 3132 w 2329543"/>
              <a:gd name="connsiteY0" fmla="*/ 0 h 2391557"/>
              <a:gd name="connsiteX1" fmla="*/ 2329543 w 2329543"/>
              <a:gd name="connsiteY1" fmla="*/ 0 h 2391557"/>
              <a:gd name="connsiteX2" fmla="*/ 2329543 w 2329543"/>
              <a:gd name="connsiteY2" fmla="*/ 2391557 h 2391557"/>
              <a:gd name="connsiteX3" fmla="*/ 0 w 2329543"/>
              <a:gd name="connsiteY3" fmla="*/ 62014 h 2391557"/>
              <a:gd name="connsiteX4" fmla="*/ 3132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8800" dirty="0" err="1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BB4D47BD-5C09-407A-8303-FCF8C4FADF46}"/>
              </a:ext>
            </a:extLst>
          </p:cNvPr>
          <p:cNvSpPr/>
          <p:nvPr/>
        </p:nvSpPr>
        <p:spPr>
          <a:xfrm>
            <a:off x="6101194" y="3733144"/>
            <a:ext cx="2329543" cy="2391557"/>
          </a:xfrm>
          <a:custGeom>
            <a:avLst/>
            <a:gdLst>
              <a:gd name="connsiteX0" fmla="*/ 0 w 2329543"/>
              <a:gd name="connsiteY0" fmla="*/ 0 h 2391557"/>
              <a:gd name="connsiteX1" fmla="*/ 2326412 w 2329543"/>
              <a:gd name="connsiteY1" fmla="*/ 0 h 2391557"/>
              <a:gd name="connsiteX2" fmla="*/ 2329543 w 2329543"/>
              <a:gd name="connsiteY2" fmla="*/ 62014 h 2391557"/>
              <a:gd name="connsiteX3" fmla="*/ 0 w 2329543"/>
              <a:gd name="connsiteY3" fmla="*/ 2391557 h 2391557"/>
              <a:gd name="connsiteX4" fmla="*/ 0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84DD17E7-E569-4AEC-9B29-BB24CB1AB527}"/>
              </a:ext>
            </a:extLst>
          </p:cNvPr>
          <p:cNvSpPr/>
          <p:nvPr/>
        </p:nvSpPr>
        <p:spPr>
          <a:xfrm>
            <a:off x="3658671" y="1305959"/>
            <a:ext cx="2326411" cy="2267529"/>
          </a:xfrm>
          <a:custGeom>
            <a:avLst/>
            <a:gdLst>
              <a:gd name="connsiteX0" fmla="*/ 2326411 w 2326411"/>
              <a:gd name="connsiteY0" fmla="*/ 0 h 2267529"/>
              <a:gd name="connsiteX1" fmla="*/ 2326411 w 2326411"/>
              <a:gd name="connsiteY1" fmla="*/ 2267529 h 2267529"/>
              <a:gd name="connsiteX2" fmla="*/ 0 w 2326411"/>
              <a:gd name="connsiteY2" fmla="*/ 2267529 h 2267529"/>
              <a:gd name="connsiteX3" fmla="*/ 8895 w 2326411"/>
              <a:gd name="connsiteY3" fmla="*/ 2091361 h 2267529"/>
              <a:gd name="connsiteX4" fmla="*/ 2326411 w 2326411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1" h="2267529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9BC1993B-2400-421A-BAC5-CF9960221D4D}"/>
              </a:ext>
            </a:extLst>
          </p:cNvPr>
          <p:cNvSpPr/>
          <p:nvPr/>
        </p:nvSpPr>
        <p:spPr>
          <a:xfrm>
            <a:off x="6101194" y="1305959"/>
            <a:ext cx="2326412" cy="2267529"/>
          </a:xfrm>
          <a:custGeom>
            <a:avLst/>
            <a:gdLst>
              <a:gd name="connsiteX0" fmla="*/ 0 w 2326412"/>
              <a:gd name="connsiteY0" fmla="*/ 0 h 2267529"/>
              <a:gd name="connsiteX1" fmla="*/ 2317516 w 2326412"/>
              <a:gd name="connsiteY1" fmla="*/ 2091361 h 2267529"/>
              <a:gd name="connsiteX2" fmla="*/ 2326412 w 2326412"/>
              <a:gd name="connsiteY2" fmla="*/ 2267529 h 2267529"/>
              <a:gd name="connsiteX3" fmla="*/ 0 w 2326412"/>
              <a:gd name="connsiteY3" fmla="*/ 2267529 h 2267529"/>
              <a:gd name="connsiteX4" fmla="*/ 0 w 2326412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2" h="2267529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9605CDC-6465-40E6-A85F-4FF3E1D90254}"/>
              </a:ext>
            </a:extLst>
          </p:cNvPr>
          <p:cNvSpPr/>
          <p:nvPr/>
        </p:nvSpPr>
        <p:spPr>
          <a:xfrm>
            <a:off x="4669676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88BDCE6-88CF-43FA-8261-8B39713E926F}"/>
              </a:ext>
            </a:extLst>
          </p:cNvPr>
          <p:cNvSpPr/>
          <p:nvPr/>
        </p:nvSpPr>
        <p:spPr>
          <a:xfrm>
            <a:off x="6669715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2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A6E051-5F46-4B73-A900-91D79A14D665}"/>
              </a:ext>
            </a:extLst>
          </p:cNvPr>
          <p:cNvSpPr/>
          <p:nvPr/>
        </p:nvSpPr>
        <p:spPr>
          <a:xfrm>
            <a:off x="4669676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F754FAB-B13F-49C8-B079-A0F0DA095FCC}"/>
              </a:ext>
            </a:extLst>
          </p:cNvPr>
          <p:cNvSpPr/>
          <p:nvPr/>
        </p:nvSpPr>
        <p:spPr>
          <a:xfrm>
            <a:off x="6669715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4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842E4CA-302F-443A-AC75-3DAAC48ABF82}"/>
              </a:ext>
            </a:extLst>
          </p:cNvPr>
          <p:cNvSpPr/>
          <p:nvPr/>
        </p:nvSpPr>
        <p:spPr>
          <a:xfrm>
            <a:off x="643825" y="1378686"/>
            <a:ext cx="30044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b="1" i="1" dirty="0" err="1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en</a:t>
            </a:r>
            <a:endParaRPr lang="en-IN" sz="2000" b="1" i="1" dirty="0" smtClean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IN" sz="2000" b="1" i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14EE8CA-A79C-4CD2-8128-D4570ADA03C8}"/>
              </a:ext>
            </a:extLst>
          </p:cNvPr>
          <p:cNvSpPr/>
          <p:nvPr/>
        </p:nvSpPr>
        <p:spPr>
          <a:xfrm>
            <a:off x="643825" y="1815609"/>
            <a:ext cx="30044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 smtClean="0">
                <a:solidFill>
                  <a:srgbClr val="002060"/>
                </a:solidFill>
                <a:latin typeface="+mn-lt"/>
              </a:rPr>
              <a:t>     </a:t>
            </a:r>
            <a:endParaRPr lang="en-IN" sz="20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A023652A-F384-4A4E-86A8-A3E357FD171D}"/>
              </a:ext>
            </a:extLst>
          </p:cNvPr>
          <p:cNvSpPr/>
          <p:nvPr/>
        </p:nvSpPr>
        <p:spPr>
          <a:xfrm>
            <a:off x="643825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slam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7FA9DB6-74E4-4427-8BC1-86100297B281}"/>
              </a:ext>
            </a:extLst>
          </p:cNvPr>
          <p:cNvSpPr/>
          <p:nvPr/>
        </p:nvSpPr>
        <p:spPr>
          <a:xfrm>
            <a:off x="8543718" y="1378686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err="1" smtClean="0">
                <a:solidFill>
                  <a:schemeClr val="tx2"/>
                </a:solidFill>
                <a:latin typeface="+mn-lt"/>
              </a:rPr>
              <a:t>Aya</a:t>
            </a:r>
            <a:endParaRPr lang="en-IN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F3CAD7F-EDD4-44FF-8990-3000EFF11A38}"/>
              </a:ext>
            </a:extLst>
          </p:cNvPr>
          <p:cNvSpPr/>
          <p:nvPr/>
        </p:nvSpPr>
        <p:spPr>
          <a:xfrm>
            <a:off x="8543718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sma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138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275008" y="3178190"/>
            <a:ext cx="73023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chemeClr val="bg1"/>
                </a:solidFill>
              </a:rPr>
              <a:t>Merci de votre attention </a:t>
            </a:r>
            <a:endParaRPr lang="fr-FR" sz="4800" b="1" dirty="0">
              <a:solidFill>
                <a:schemeClr val="bg1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039" y="4573971"/>
            <a:ext cx="1744190" cy="1744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91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0" name="think-cell Slide" r:id="rId5" imgW="346" imgH="343" progId="TCLayout.ActiveDocument.1">
                  <p:embed/>
                </p:oleObj>
              </mc:Choice>
              <mc:Fallback>
                <p:oleObj name="think-cell Slide" r:id="rId5" imgW="346" imgH="34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726A4BFE-89AF-4A97-B7F7-C11C4C4CE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03421"/>
            <a:ext cx="5219700" cy="584775"/>
          </a:xfrm>
        </p:spPr>
        <p:txBody>
          <a:bodyPr/>
          <a:lstStyle/>
          <a:p>
            <a:r>
              <a:rPr lang="en-IN" dirty="0" smtClean="0"/>
              <a:t>Introduction</a:t>
            </a:r>
            <a:endParaRPr lang="en-IN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xmlns="" id="{D5CF06A1-3E21-43E6-96A2-E92C80299C1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186" y="-33944"/>
            <a:ext cx="10357206" cy="6904803"/>
          </a:xfrm>
        </p:spPr>
      </p:pic>
      <p:sp>
        <p:nvSpPr>
          <p:cNvPr id="3" name="TextBox 2"/>
          <p:cNvSpPr txBox="1"/>
          <p:nvPr/>
        </p:nvSpPr>
        <p:spPr>
          <a:xfrm>
            <a:off x="723900" y="1792941"/>
            <a:ext cx="4567276" cy="20181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  </a:t>
            </a:r>
            <a:r>
              <a:rPr lang="fr-FR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l </a:t>
            </a:r>
            <a:r>
              <a:rPr lang="fr-FR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fr-FR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’agit de mettre en place une application</a:t>
            </a:r>
          </a:p>
          <a:p>
            <a:r>
              <a:rPr lang="fr-FR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eb à base de HTML5,css,bootstrap,php,</a:t>
            </a:r>
          </a:p>
          <a:p>
            <a:r>
              <a:rPr lang="fr-FR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avascript</a:t>
            </a:r>
            <a:r>
              <a:rPr lang="fr-FR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fr-FR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query</a:t>
            </a:r>
            <a:r>
              <a:rPr lang="fr-FR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t </a:t>
            </a:r>
            <a:r>
              <a:rPr lang="fr-FR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ysql</a:t>
            </a:r>
            <a:r>
              <a:rPr lang="fr-FR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nommée :</a:t>
            </a:r>
          </a:p>
          <a:p>
            <a:endParaRPr lang="fr-FR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8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2800" b="1" i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Gestion des étudiants</a:t>
            </a:r>
            <a:endParaRPr lang="fr-FR" sz="2800" b="1" i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59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8" y="161112"/>
            <a:ext cx="12010793" cy="608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23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7314" y="644434"/>
            <a:ext cx="7035900" cy="690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Les tables dans la base de données sont définies comme suit:</a:t>
            </a:r>
          </a:p>
          <a:p>
            <a:endParaRPr lang="fr-FR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285" y="1622903"/>
            <a:ext cx="4953429" cy="3612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260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Title 1">
            <a:extLst>
              <a:ext uri="{FF2B5EF4-FFF2-40B4-BE49-F238E27FC236}">
                <a16:creationId xmlns:a16="http://schemas.microsoft.com/office/drawing/2014/main" xmlns="" id="{0807BB20-28F3-4851-947F-E1DE74024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621" y="250329"/>
            <a:ext cx="10820400" cy="1569660"/>
          </a:xfrm>
        </p:spPr>
        <p:txBody>
          <a:bodyPr/>
          <a:lstStyle/>
          <a:p>
            <a:r>
              <a:rPr lang="en-IN" dirty="0" smtClean="0">
                <a:solidFill>
                  <a:schemeClr val="tx2"/>
                </a:solidFill>
              </a:rPr>
              <a:t>Les </a:t>
            </a:r>
            <a:r>
              <a:rPr lang="en-IN" dirty="0" err="1" smtClean="0">
                <a:solidFill>
                  <a:schemeClr val="tx2"/>
                </a:solidFill>
              </a:rPr>
              <a:t>outils</a:t>
            </a:r>
            <a:r>
              <a:rPr lang="en-IN" dirty="0" smtClean="0">
                <a:solidFill>
                  <a:schemeClr val="tx2"/>
                </a:solidFill>
              </a:rPr>
              <a:t> </a:t>
            </a:r>
            <a:r>
              <a:rPr lang="en-IN" dirty="0" err="1" smtClean="0">
                <a:solidFill>
                  <a:schemeClr val="tx2"/>
                </a:solidFill>
              </a:rPr>
              <a:t>utilisés</a:t>
            </a:r>
            <a:r>
              <a:rPr lang="en-IN" dirty="0" smtClean="0">
                <a:solidFill>
                  <a:schemeClr val="tx2"/>
                </a:solidFill>
              </a:rPr>
              <a:t> pour </a:t>
            </a:r>
            <a:r>
              <a:rPr lang="en-IN" dirty="0" err="1" smtClean="0">
                <a:solidFill>
                  <a:schemeClr val="tx2"/>
                </a:solidFill>
              </a:rPr>
              <a:t>mettre</a:t>
            </a:r>
            <a:r>
              <a:rPr lang="en-IN" dirty="0" smtClean="0">
                <a:solidFill>
                  <a:schemeClr val="tx2"/>
                </a:solidFill>
              </a:rPr>
              <a:t/>
            </a:r>
            <a:br>
              <a:rPr lang="en-IN" dirty="0" smtClean="0">
                <a:solidFill>
                  <a:schemeClr val="tx2"/>
                </a:solidFill>
              </a:rPr>
            </a:br>
            <a:r>
              <a:rPr lang="en-IN" dirty="0" err="1" smtClean="0">
                <a:solidFill>
                  <a:schemeClr val="tx2"/>
                </a:solidFill>
              </a:rPr>
              <a:t>en</a:t>
            </a:r>
            <a:r>
              <a:rPr lang="en-IN" dirty="0" smtClean="0">
                <a:solidFill>
                  <a:schemeClr val="tx2"/>
                </a:solidFill>
              </a:rPr>
              <a:t> place </a:t>
            </a:r>
            <a:r>
              <a:rPr lang="en-IN" dirty="0" err="1" smtClean="0">
                <a:solidFill>
                  <a:schemeClr val="tx2"/>
                </a:solidFill>
              </a:rPr>
              <a:t>ce</a:t>
            </a:r>
            <a:r>
              <a:rPr lang="en-IN" dirty="0" smtClean="0">
                <a:solidFill>
                  <a:schemeClr val="tx2"/>
                </a:solidFill>
              </a:rPr>
              <a:t> </a:t>
            </a:r>
            <a:r>
              <a:rPr lang="en-IN" dirty="0" err="1" smtClean="0">
                <a:solidFill>
                  <a:schemeClr val="tx2"/>
                </a:solidFill>
              </a:rPr>
              <a:t>projet</a:t>
            </a:r>
            <a:r>
              <a:rPr lang="en-IN" dirty="0" smtClean="0">
                <a:solidFill>
                  <a:schemeClr val="tx2"/>
                </a:solidFill>
              </a:rPr>
              <a:t>:</a:t>
            </a:r>
            <a:br>
              <a:rPr lang="en-IN" dirty="0" smtClean="0">
                <a:solidFill>
                  <a:schemeClr val="tx2"/>
                </a:solidFill>
              </a:rPr>
            </a:br>
            <a:endParaRPr lang="en-IN" dirty="0">
              <a:solidFill>
                <a:schemeClr val="tx2"/>
              </a:solidFill>
            </a:endParaRPr>
          </a:p>
        </p:txBody>
      </p:sp>
      <p:grpSp>
        <p:nvGrpSpPr>
          <p:cNvPr id="524" name="Group 523">
            <a:extLst>
              <a:ext uri="{FF2B5EF4-FFF2-40B4-BE49-F238E27FC236}">
                <a16:creationId xmlns:a16="http://schemas.microsoft.com/office/drawing/2014/main" xmlns="" id="{26F185CC-70E3-4834-8A3A-31E3C080C710}"/>
              </a:ext>
            </a:extLst>
          </p:cNvPr>
          <p:cNvGrpSpPr/>
          <p:nvPr/>
        </p:nvGrpSpPr>
        <p:grpSpPr>
          <a:xfrm>
            <a:off x="5156723" y="1335313"/>
            <a:ext cx="6071714" cy="4863619"/>
            <a:chOff x="6120960" y="1333500"/>
            <a:chExt cx="5270940" cy="3976553"/>
          </a:xfrm>
        </p:grpSpPr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xmlns="" id="{964EBEAF-D2AB-4312-B506-855C1B554AA1}"/>
                </a:ext>
              </a:extLst>
            </p:cNvPr>
            <p:cNvGrpSpPr/>
            <p:nvPr/>
          </p:nvGrpSpPr>
          <p:grpSpPr>
            <a:xfrm>
              <a:off x="6132357" y="1333500"/>
              <a:ext cx="5250340" cy="3972061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xmlns="" id="{545D7EE6-B447-49F7-9DFF-1F03F612BA2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xmlns="" id="{D3F6ECF3-18BE-40A0-B6CC-2E89DCD1C5C1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xmlns="" id="{C186B60B-C496-4C3A-B3F0-1A78444E3B8F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xmlns="" id="{77E786F1-DF2B-4EEE-A9D3-84597398E2F0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xmlns="" id="{B3FC957E-AA5B-4AA5-B59C-25AD4C01E39C}"/>
                </a:ext>
              </a:extLst>
            </p:cNvPr>
            <p:cNvSpPr/>
            <p:nvPr/>
          </p:nvSpPr>
          <p:spPr>
            <a:xfrm>
              <a:off x="6120960" y="2395787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73AF51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xmlns="" id="{6688AF5A-C0F0-4F00-A6F2-C1483A884702}"/>
              </a:ext>
            </a:extLst>
          </p:cNvPr>
          <p:cNvGrpSpPr/>
          <p:nvPr/>
        </p:nvGrpSpPr>
        <p:grpSpPr>
          <a:xfrm>
            <a:off x="4169740" y="2881447"/>
            <a:ext cx="5270940" cy="3976553"/>
            <a:chOff x="5193218" y="2184277"/>
            <a:chExt cx="5270940" cy="3976553"/>
          </a:xfrm>
        </p:grpSpPr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xmlns="" id="{7EA3EB79-CB31-46F6-9CCE-B5D8ADECDBDE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xmlns="" id="{E0266CA8-1D63-4F85-ACA8-95531A36B99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xmlns="" id="{45093B62-7F1C-4365-A63B-BFD018B53733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xmlns="" id="{869FB1C4-0266-4C62-A8D5-17CAB1391A92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xmlns="" id="{67CA104B-41B0-45ED-A5D6-4A8A110A18CA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xmlns="" id="{D69199D3-FE4F-4A87-99F3-6D0D5BC515E8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xmlns="" id="{055F2BDE-8594-46F2-B963-85C9FD683A7C}"/>
              </a:ext>
            </a:extLst>
          </p:cNvPr>
          <p:cNvGrpSpPr/>
          <p:nvPr/>
        </p:nvGrpSpPr>
        <p:grpSpPr>
          <a:xfrm>
            <a:off x="3669992" y="3622074"/>
            <a:ext cx="4289236" cy="3235926"/>
            <a:chOff x="5193218" y="2184277"/>
            <a:chExt cx="5270940" cy="3976553"/>
          </a:xfrm>
        </p:grpSpPr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xmlns="" id="{2072E37B-53F2-4A34-8BA7-39B254E7BC9B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xmlns="" id="{C265C260-9FF9-447D-AED0-9C165C0F4EC6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xmlns="" id="{37D12856-0B90-4FA7-B810-4337A269A55F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xmlns="" id="{D6DD3657-A404-440E-9FCB-F335B95CED3E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xmlns="" id="{C47DD0A8-E120-4AC1-81A1-63891582593B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xmlns="" id="{97313148-89BA-4D66-B844-908BC0A78592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8000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xmlns="" id="{B6018669-1197-4EF4-84CF-D7459A5056D7}"/>
              </a:ext>
            </a:extLst>
          </p:cNvPr>
          <p:cNvGrpSpPr/>
          <p:nvPr/>
        </p:nvGrpSpPr>
        <p:grpSpPr>
          <a:xfrm>
            <a:off x="4880151" y="881207"/>
            <a:ext cx="1844868" cy="1746470"/>
            <a:chOff x="4356514" y="477778"/>
            <a:chExt cx="1844868" cy="1746470"/>
          </a:xfrm>
          <a:effectLst/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xmlns="" id="{F8296D2E-C62E-442A-B284-01EF22F485D3}"/>
                </a:ext>
              </a:extLst>
            </p:cNvPr>
            <p:cNvSpPr/>
            <p:nvPr/>
          </p:nvSpPr>
          <p:spPr>
            <a:xfrm>
              <a:off x="4356514" y="477778"/>
              <a:ext cx="1746470" cy="174647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xmlns="" id="{6EB7ECE7-F63A-4C51-BE6A-13BC0E759F35}"/>
                </a:ext>
              </a:extLst>
            </p:cNvPr>
            <p:cNvSpPr/>
            <p:nvPr/>
          </p:nvSpPr>
          <p:spPr>
            <a:xfrm>
              <a:off x="4501392" y="709325"/>
              <a:ext cx="1601592" cy="9541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800" dirty="0" smtClean="0">
                  <a:solidFill>
                    <a:schemeClr val="bg1"/>
                  </a:solidFill>
                  <a:latin typeface="+mn-lt"/>
                </a:rPr>
                <a:t>4</a:t>
              </a:r>
            </a:p>
            <a:p>
              <a:pPr algn="ctr"/>
              <a:r>
                <a:rPr lang="en-IN" sz="2800" dirty="0" err="1" smtClean="0">
                  <a:solidFill>
                    <a:schemeClr val="bg1"/>
                  </a:solidFill>
                  <a:latin typeface="+mn-lt"/>
                </a:rPr>
                <a:t>Mysql</a:t>
              </a:r>
              <a:r>
                <a:rPr lang="en-IN" sz="2800" dirty="0" smtClean="0">
                  <a:solidFill>
                    <a:schemeClr val="bg1"/>
                  </a:solidFill>
                  <a:latin typeface="+mn-lt"/>
                </a:rPr>
                <a:t> 5.7</a:t>
              </a:r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xmlns="" id="{6F43371B-2E28-4347-9466-625BE13886BE}"/>
                </a:ext>
              </a:extLst>
            </p:cNvPr>
            <p:cNvSpPr/>
            <p:nvPr/>
          </p:nvSpPr>
          <p:spPr>
            <a:xfrm>
              <a:off x="4554653" y="1116646"/>
              <a:ext cx="164672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IN" sz="2000" dirty="0">
                <a:solidFill>
                  <a:schemeClr val="bg1"/>
                </a:solidFill>
              </a:endParaRP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xmlns="" id="{A4F5B4BD-EE99-4B0B-B3B2-AC792BC4DEDB}"/>
                </a:ext>
              </a:extLst>
            </p:cNvPr>
            <p:cNvSpPr/>
            <p:nvPr/>
          </p:nvSpPr>
          <p:spPr>
            <a:xfrm>
              <a:off x="4703855" y="1504393"/>
              <a:ext cx="136824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IN" sz="1400" dirty="0" smtClean="0">
                  <a:solidFill>
                    <a:schemeClr val="bg1"/>
                  </a:solidFill>
                </a:rPr>
                <a:t>.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xmlns="" id="{E8E02D71-8469-41C1-9C0E-6742E8EF3231}"/>
              </a:ext>
            </a:extLst>
          </p:cNvPr>
          <p:cNvGrpSpPr/>
          <p:nvPr/>
        </p:nvGrpSpPr>
        <p:grpSpPr>
          <a:xfrm>
            <a:off x="2720696" y="2124884"/>
            <a:ext cx="1746470" cy="1746470"/>
            <a:chOff x="2451655" y="1667060"/>
            <a:chExt cx="1746470" cy="1746470"/>
          </a:xfrm>
          <a:effectLst/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xmlns="" id="{0ACF8CE3-993E-4A4B-901E-4935D76BA0C2}"/>
                </a:ext>
              </a:extLst>
            </p:cNvPr>
            <p:cNvSpPr/>
            <p:nvPr/>
          </p:nvSpPr>
          <p:spPr>
            <a:xfrm>
              <a:off x="2451655" y="1667060"/>
              <a:ext cx="1746470" cy="174647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xmlns="" id="{13425B1B-1F9F-4FF5-91D6-E73814B449D8}"/>
                </a:ext>
              </a:extLst>
            </p:cNvPr>
            <p:cNvSpPr/>
            <p:nvPr/>
          </p:nvSpPr>
          <p:spPr>
            <a:xfrm>
              <a:off x="3140160" y="1897480"/>
              <a:ext cx="184730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xmlns="" id="{5045B72C-7B35-4D52-8293-59306249D8F5}"/>
                </a:ext>
              </a:extLst>
            </p:cNvPr>
            <p:cNvSpPr/>
            <p:nvPr/>
          </p:nvSpPr>
          <p:spPr>
            <a:xfrm>
              <a:off x="2471036" y="2124736"/>
              <a:ext cx="164672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2000" dirty="0" smtClean="0">
                  <a:solidFill>
                    <a:schemeClr val="bg1"/>
                  </a:solidFill>
                  <a:latin typeface="+mn-lt"/>
                </a:rPr>
                <a:t>3</a:t>
              </a:r>
              <a:endParaRPr lang="en-IN" sz="2000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r>
                <a:rPr lang="en-IN" sz="2000" dirty="0" smtClean="0">
                  <a:solidFill>
                    <a:schemeClr val="bg1"/>
                  </a:solidFill>
                  <a:latin typeface="+mn-lt"/>
                </a:rPr>
                <a:t>PHP </a:t>
              </a:r>
              <a:r>
                <a:rPr lang="en-IN" sz="2000" dirty="0">
                  <a:solidFill>
                    <a:schemeClr val="bg1"/>
                  </a:solidFill>
                  <a:latin typeface="+mn-lt"/>
                </a:rPr>
                <a:t>S</a:t>
              </a:r>
              <a:r>
                <a:rPr lang="en-IN" sz="2000" dirty="0" smtClean="0">
                  <a:solidFill>
                    <a:schemeClr val="bg1"/>
                  </a:solidFill>
                  <a:latin typeface="+mn-lt"/>
                </a:rPr>
                <a:t>torm</a:t>
              </a:r>
              <a:endParaRPr lang="en-IN" sz="20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xmlns="" id="{66CBE894-E707-4D0E-9DDC-72A1885C83D0}"/>
                </a:ext>
              </a:extLst>
            </p:cNvPr>
            <p:cNvSpPr/>
            <p:nvPr/>
          </p:nvSpPr>
          <p:spPr>
            <a:xfrm>
              <a:off x="2610280" y="2709778"/>
              <a:ext cx="136824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endParaRPr lang="en-IN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DB204B01-4765-4407-A0BE-A8E001ACB48B}"/>
              </a:ext>
            </a:extLst>
          </p:cNvPr>
          <p:cNvGrpSpPr/>
          <p:nvPr/>
        </p:nvGrpSpPr>
        <p:grpSpPr>
          <a:xfrm flipH="1">
            <a:off x="1" y="4460421"/>
            <a:ext cx="12191999" cy="2419506"/>
            <a:chOff x="1" y="4460421"/>
            <a:chExt cx="12191999" cy="2419506"/>
          </a:xfrm>
        </p:grpSpPr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xmlns="" id="{AFCDAB66-6697-4928-9A5E-0BBC074B0DAD}"/>
                </a:ext>
              </a:extLst>
            </p:cNvPr>
            <p:cNvSpPr/>
            <p:nvPr/>
          </p:nvSpPr>
          <p:spPr>
            <a:xfrm>
              <a:off x="1" y="4460421"/>
              <a:ext cx="12191999" cy="2416629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  <p:sp useBgFill="1">
          <p:nvSpPr>
            <p:cNvPr id="262" name="Freeform: Shape 261">
              <a:extLst>
                <a:ext uri="{FF2B5EF4-FFF2-40B4-BE49-F238E27FC236}">
                  <a16:creationId xmlns:a16="http://schemas.microsoft.com/office/drawing/2014/main" xmlns="" id="{04221490-9EAC-4168-8A93-AC881F3E65AC}"/>
                </a:ext>
              </a:extLst>
            </p:cNvPr>
            <p:cNvSpPr/>
            <p:nvPr/>
          </p:nvSpPr>
          <p:spPr>
            <a:xfrm>
              <a:off x="1" y="4611667"/>
              <a:ext cx="12191999" cy="2268260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3240B02B-5B9B-4423-B6A6-AD370F2605E8}"/>
              </a:ext>
            </a:extLst>
          </p:cNvPr>
          <p:cNvCxnSpPr>
            <a:stCxn id="261" idx="18"/>
          </p:cNvCxnSpPr>
          <p:nvPr/>
        </p:nvCxnSpPr>
        <p:spPr>
          <a:xfrm flipH="1" flipV="1">
            <a:off x="8391161" y="4486512"/>
            <a:ext cx="2475003" cy="1606493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EB3DB520-3ED2-4C70-AA82-61C0DCEDAA31}"/>
              </a:ext>
            </a:extLst>
          </p:cNvPr>
          <p:cNvCxnSpPr>
            <a:cxnSpLocks/>
          </p:cNvCxnSpPr>
          <p:nvPr/>
        </p:nvCxnSpPr>
        <p:spPr>
          <a:xfrm flipH="1">
            <a:off x="8372640" y="3606684"/>
            <a:ext cx="814713" cy="906115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141B0FA2-8640-46C2-8EEF-08A3AD2BC75B}"/>
              </a:ext>
            </a:extLst>
          </p:cNvPr>
          <p:cNvCxnSpPr>
            <a:cxnSpLocks/>
            <a:stCxn id="521" idx="3"/>
          </p:cNvCxnSpPr>
          <p:nvPr/>
        </p:nvCxnSpPr>
        <p:spPr>
          <a:xfrm>
            <a:off x="8116393" y="1415707"/>
            <a:ext cx="1087503" cy="2206367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9" name="Group 518">
            <a:extLst>
              <a:ext uri="{FF2B5EF4-FFF2-40B4-BE49-F238E27FC236}">
                <a16:creationId xmlns:a16="http://schemas.microsoft.com/office/drawing/2014/main" xmlns="" id="{C4EDC8C0-D0E9-4775-97EB-497B071F9319}"/>
              </a:ext>
            </a:extLst>
          </p:cNvPr>
          <p:cNvGrpSpPr/>
          <p:nvPr/>
        </p:nvGrpSpPr>
        <p:grpSpPr>
          <a:xfrm>
            <a:off x="8092785" y="550488"/>
            <a:ext cx="411883" cy="990865"/>
            <a:chOff x="9053309" y="399730"/>
            <a:chExt cx="411883" cy="990865"/>
          </a:xfrm>
        </p:grpSpPr>
        <p:sp>
          <p:nvSpPr>
            <p:cNvPr id="520" name="Freeform 9">
              <a:extLst>
                <a:ext uri="{FF2B5EF4-FFF2-40B4-BE49-F238E27FC236}">
                  <a16:creationId xmlns:a16="http://schemas.microsoft.com/office/drawing/2014/main" xmlns="" id="{5B6F9A9E-3630-4AAB-91CD-99C522A2E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942" y="399730"/>
              <a:ext cx="392250" cy="364890"/>
            </a:xfrm>
            <a:custGeom>
              <a:avLst/>
              <a:gdLst>
                <a:gd name="T0" fmla="*/ 47 w 1913"/>
                <a:gd name="T1" fmla="*/ 1746 h 1762"/>
                <a:gd name="T2" fmla="*/ 0 w 1913"/>
                <a:gd name="T3" fmla="*/ 1717 h 1762"/>
                <a:gd name="T4" fmla="*/ 757 w 1913"/>
                <a:gd name="T5" fmla="*/ 8 h 1762"/>
                <a:gd name="T6" fmla="*/ 859 w 1913"/>
                <a:gd name="T7" fmla="*/ 52 h 1762"/>
                <a:gd name="T8" fmla="*/ 844 w 1913"/>
                <a:gd name="T9" fmla="*/ 106 h 1762"/>
                <a:gd name="T10" fmla="*/ 828 w 1913"/>
                <a:gd name="T11" fmla="*/ 151 h 1762"/>
                <a:gd name="T12" fmla="*/ 901 w 1913"/>
                <a:gd name="T13" fmla="*/ 142 h 1762"/>
                <a:gd name="T14" fmla="*/ 1072 w 1913"/>
                <a:gd name="T15" fmla="*/ 154 h 1762"/>
                <a:gd name="T16" fmla="*/ 1482 w 1913"/>
                <a:gd name="T17" fmla="*/ 412 h 1762"/>
                <a:gd name="T18" fmla="*/ 1513 w 1913"/>
                <a:gd name="T19" fmla="*/ 465 h 1762"/>
                <a:gd name="T20" fmla="*/ 1475 w 1913"/>
                <a:gd name="T21" fmla="*/ 550 h 1762"/>
                <a:gd name="T22" fmla="*/ 1458 w 1913"/>
                <a:gd name="T23" fmla="*/ 659 h 1762"/>
                <a:gd name="T24" fmla="*/ 1864 w 1913"/>
                <a:gd name="T25" fmla="*/ 804 h 1762"/>
                <a:gd name="T26" fmla="*/ 1913 w 1913"/>
                <a:gd name="T27" fmla="*/ 805 h 1762"/>
                <a:gd name="T28" fmla="*/ 1548 w 1913"/>
                <a:gd name="T29" fmla="*/ 1596 h 1762"/>
                <a:gd name="T30" fmla="*/ 1079 w 1913"/>
                <a:gd name="T31" fmla="*/ 1479 h 1762"/>
                <a:gd name="T32" fmla="*/ 1008 w 1913"/>
                <a:gd name="T33" fmla="*/ 1382 h 1762"/>
                <a:gd name="T34" fmla="*/ 1029 w 1913"/>
                <a:gd name="T35" fmla="*/ 1253 h 1762"/>
                <a:gd name="T36" fmla="*/ 1067 w 1913"/>
                <a:gd name="T37" fmla="*/ 1166 h 1762"/>
                <a:gd name="T38" fmla="*/ 1037 w 1913"/>
                <a:gd name="T39" fmla="*/ 1143 h 1762"/>
                <a:gd name="T40" fmla="*/ 675 w 1913"/>
                <a:gd name="T41" fmla="*/ 975 h 1762"/>
                <a:gd name="T42" fmla="*/ 465 w 1913"/>
                <a:gd name="T43" fmla="*/ 972 h 1762"/>
                <a:gd name="T44" fmla="*/ 281 w 1913"/>
                <a:gd name="T45" fmla="*/ 1369 h 1762"/>
                <a:gd name="T46" fmla="*/ 102 w 1913"/>
                <a:gd name="T47" fmla="*/ 1757 h 1762"/>
                <a:gd name="T48" fmla="*/ 47 w 1913"/>
                <a:gd name="T49" fmla="*/ 1746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13" h="1762">
                  <a:moveTo>
                    <a:pt x="47" y="1746"/>
                  </a:moveTo>
                  <a:cubicBezTo>
                    <a:pt x="21" y="1736"/>
                    <a:pt x="0" y="1723"/>
                    <a:pt x="0" y="1717"/>
                  </a:cubicBezTo>
                  <a:cubicBezTo>
                    <a:pt x="0" y="1707"/>
                    <a:pt x="748" y="18"/>
                    <a:pt x="757" y="8"/>
                  </a:cubicBezTo>
                  <a:cubicBezTo>
                    <a:pt x="764" y="0"/>
                    <a:pt x="853" y="38"/>
                    <a:pt x="859" y="52"/>
                  </a:cubicBezTo>
                  <a:cubicBezTo>
                    <a:pt x="862" y="60"/>
                    <a:pt x="855" y="84"/>
                    <a:pt x="844" y="106"/>
                  </a:cubicBezTo>
                  <a:cubicBezTo>
                    <a:pt x="832" y="128"/>
                    <a:pt x="825" y="148"/>
                    <a:pt x="828" y="151"/>
                  </a:cubicBezTo>
                  <a:cubicBezTo>
                    <a:pt x="831" y="154"/>
                    <a:pt x="864" y="150"/>
                    <a:pt x="901" y="142"/>
                  </a:cubicBezTo>
                  <a:cubicBezTo>
                    <a:pt x="959" y="130"/>
                    <a:pt x="983" y="131"/>
                    <a:pt x="1072" y="154"/>
                  </a:cubicBezTo>
                  <a:cubicBezTo>
                    <a:pt x="1264" y="203"/>
                    <a:pt x="1414" y="297"/>
                    <a:pt x="1482" y="412"/>
                  </a:cubicBezTo>
                  <a:lnTo>
                    <a:pt x="1513" y="465"/>
                  </a:lnTo>
                  <a:lnTo>
                    <a:pt x="1475" y="550"/>
                  </a:lnTo>
                  <a:cubicBezTo>
                    <a:pt x="1439" y="631"/>
                    <a:pt x="1438" y="636"/>
                    <a:pt x="1458" y="659"/>
                  </a:cubicBezTo>
                  <a:cubicBezTo>
                    <a:pt x="1516" y="722"/>
                    <a:pt x="1769" y="813"/>
                    <a:pt x="1864" y="804"/>
                  </a:cubicBezTo>
                  <a:cubicBezTo>
                    <a:pt x="1891" y="801"/>
                    <a:pt x="1913" y="802"/>
                    <a:pt x="1913" y="805"/>
                  </a:cubicBezTo>
                  <a:cubicBezTo>
                    <a:pt x="1913" y="829"/>
                    <a:pt x="1567" y="1580"/>
                    <a:pt x="1548" y="1596"/>
                  </a:cubicBezTo>
                  <a:cubicBezTo>
                    <a:pt x="1460" y="1672"/>
                    <a:pt x="1204" y="1608"/>
                    <a:pt x="1079" y="1479"/>
                  </a:cubicBezTo>
                  <a:cubicBezTo>
                    <a:pt x="1050" y="1449"/>
                    <a:pt x="1018" y="1406"/>
                    <a:pt x="1008" y="1382"/>
                  </a:cubicBezTo>
                  <a:cubicBezTo>
                    <a:pt x="992" y="1342"/>
                    <a:pt x="993" y="1335"/>
                    <a:pt x="1029" y="1253"/>
                  </a:cubicBezTo>
                  <a:lnTo>
                    <a:pt x="1067" y="1166"/>
                  </a:lnTo>
                  <a:lnTo>
                    <a:pt x="1037" y="1143"/>
                  </a:lnTo>
                  <a:cubicBezTo>
                    <a:pt x="978" y="1097"/>
                    <a:pt x="755" y="994"/>
                    <a:pt x="675" y="975"/>
                  </a:cubicBezTo>
                  <a:cubicBezTo>
                    <a:pt x="575" y="952"/>
                    <a:pt x="483" y="951"/>
                    <a:pt x="465" y="972"/>
                  </a:cubicBezTo>
                  <a:cubicBezTo>
                    <a:pt x="458" y="981"/>
                    <a:pt x="375" y="1160"/>
                    <a:pt x="281" y="1369"/>
                  </a:cubicBezTo>
                  <a:cubicBezTo>
                    <a:pt x="188" y="1579"/>
                    <a:pt x="107" y="1753"/>
                    <a:pt x="102" y="1757"/>
                  </a:cubicBezTo>
                  <a:cubicBezTo>
                    <a:pt x="98" y="1762"/>
                    <a:pt x="73" y="1757"/>
                    <a:pt x="47" y="1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1" name="Freeform 13">
              <a:extLst>
                <a:ext uri="{FF2B5EF4-FFF2-40B4-BE49-F238E27FC236}">
                  <a16:creationId xmlns:a16="http://schemas.microsoft.com/office/drawing/2014/main" xmlns="" id="{396DDA30-B49F-4DEE-B4CF-B80C94AC1D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3309" y="694347"/>
              <a:ext cx="300998" cy="696248"/>
            </a:xfrm>
            <a:custGeom>
              <a:avLst/>
              <a:gdLst>
                <a:gd name="T0" fmla="*/ 386 w 3366"/>
                <a:gd name="T1" fmla="*/ 7638 h 7708"/>
                <a:gd name="T2" fmla="*/ 277 w 3366"/>
                <a:gd name="T3" fmla="*/ 7581 h 7708"/>
                <a:gd name="T4" fmla="*/ 162 w 3366"/>
                <a:gd name="T5" fmla="*/ 7370 h 7708"/>
                <a:gd name="T6" fmla="*/ 264 w 3366"/>
                <a:gd name="T7" fmla="*/ 6317 h 7708"/>
                <a:gd name="T8" fmla="*/ 585 w 3366"/>
                <a:gd name="T9" fmla="*/ 4817 h 7708"/>
                <a:gd name="T10" fmla="*/ 807 w 3366"/>
                <a:gd name="T11" fmla="*/ 4210 h 7708"/>
                <a:gd name="T12" fmla="*/ 864 w 3366"/>
                <a:gd name="T13" fmla="*/ 3129 h 7708"/>
                <a:gd name="T14" fmla="*/ 864 w 3366"/>
                <a:gd name="T15" fmla="*/ 2667 h 7708"/>
                <a:gd name="T16" fmla="*/ 774 w 3366"/>
                <a:gd name="T17" fmla="*/ 2517 h 7708"/>
                <a:gd name="T18" fmla="*/ 50 w 3366"/>
                <a:gd name="T19" fmla="*/ 611 h 7708"/>
                <a:gd name="T20" fmla="*/ 210 w 3366"/>
                <a:gd name="T21" fmla="*/ 110 h 7708"/>
                <a:gd name="T22" fmla="*/ 688 w 3366"/>
                <a:gd name="T23" fmla="*/ 150 h 7708"/>
                <a:gd name="T24" fmla="*/ 806 w 3366"/>
                <a:gd name="T25" fmla="*/ 504 h 7708"/>
                <a:gd name="T26" fmla="*/ 1242 w 3366"/>
                <a:gd name="T27" fmla="*/ 1773 h 7708"/>
                <a:gd name="T28" fmla="*/ 1315 w 3366"/>
                <a:gd name="T29" fmla="*/ 1921 h 7708"/>
                <a:gd name="T30" fmla="*/ 1406 w 3366"/>
                <a:gd name="T31" fmla="*/ 1905 h 7708"/>
                <a:gd name="T32" fmla="*/ 1922 w 3366"/>
                <a:gd name="T33" fmla="*/ 1963 h 7708"/>
                <a:gd name="T34" fmla="*/ 2193 w 3366"/>
                <a:gd name="T35" fmla="*/ 2208 h 7708"/>
                <a:gd name="T36" fmla="*/ 2285 w 3366"/>
                <a:gd name="T37" fmla="*/ 2283 h 7708"/>
                <a:gd name="T38" fmla="*/ 2397 w 3366"/>
                <a:gd name="T39" fmla="*/ 2349 h 7708"/>
                <a:gd name="T40" fmla="*/ 2463 w 3366"/>
                <a:gd name="T41" fmla="*/ 2398 h 7708"/>
                <a:gd name="T42" fmla="*/ 2470 w 3366"/>
                <a:gd name="T43" fmla="*/ 2366 h 7708"/>
                <a:gd name="T44" fmla="*/ 2676 w 3366"/>
                <a:gd name="T45" fmla="*/ 2097 h 7708"/>
                <a:gd name="T46" fmla="*/ 2854 w 3366"/>
                <a:gd name="T47" fmla="*/ 2056 h 7708"/>
                <a:gd name="T48" fmla="*/ 3177 w 3366"/>
                <a:gd name="T49" fmla="*/ 2237 h 7708"/>
                <a:gd name="T50" fmla="*/ 3338 w 3366"/>
                <a:gd name="T51" fmla="*/ 3114 h 7708"/>
                <a:gd name="T52" fmla="*/ 3356 w 3366"/>
                <a:gd name="T53" fmla="*/ 3470 h 7708"/>
                <a:gd name="T54" fmla="*/ 3105 w 3366"/>
                <a:gd name="T55" fmla="*/ 3780 h 7708"/>
                <a:gd name="T56" fmla="*/ 2829 w 3366"/>
                <a:gd name="T57" fmla="*/ 3762 h 7708"/>
                <a:gd name="T58" fmla="*/ 2560 w 3366"/>
                <a:gd name="T59" fmla="*/ 3548 h 7708"/>
                <a:gd name="T60" fmla="*/ 2332 w 3366"/>
                <a:gd name="T61" fmla="*/ 3360 h 7708"/>
                <a:gd name="T62" fmla="*/ 2320 w 3366"/>
                <a:gd name="T63" fmla="*/ 3507 h 7708"/>
                <a:gd name="T64" fmla="*/ 2255 w 3366"/>
                <a:gd name="T65" fmla="*/ 4460 h 7708"/>
                <a:gd name="T66" fmla="*/ 2217 w 3366"/>
                <a:gd name="T67" fmla="*/ 4604 h 7708"/>
                <a:gd name="T68" fmla="*/ 2206 w 3366"/>
                <a:gd name="T69" fmla="*/ 4785 h 7708"/>
                <a:gd name="T70" fmla="*/ 2239 w 3366"/>
                <a:gd name="T71" fmla="*/ 5167 h 7708"/>
                <a:gd name="T72" fmla="*/ 2363 w 3366"/>
                <a:gd name="T73" fmla="*/ 6617 h 7708"/>
                <a:gd name="T74" fmla="*/ 2432 w 3366"/>
                <a:gd name="T75" fmla="*/ 7225 h 7708"/>
                <a:gd name="T76" fmla="*/ 2411 w 3366"/>
                <a:gd name="T77" fmla="*/ 7339 h 7708"/>
                <a:gd name="T78" fmla="*/ 2180 w 3366"/>
                <a:gd name="T79" fmla="*/ 7592 h 7708"/>
                <a:gd name="T80" fmla="*/ 1854 w 3366"/>
                <a:gd name="T81" fmla="*/ 7600 h 7708"/>
                <a:gd name="T82" fmla="*/ 1706 w 3366"/>
                <a:gd name="T83" fmla="*/ 7412 h 7708"/>
                <a:gd name="T84" fmla="*/ 1538 w 3366"/>
                <a:gd name="T85" fmla="*/ 5898 h 7708"/>
                <a:gd name="T86" fmla="*/ 1494 w 3366"/>
                <a:gd name="T87" fmla="*/ 5373 h 7708"/>
                <a:gd name="T88" fmla="*/ 1470 w 3366"/>
                <a:gd name="T89" fmla="*/ 5085 h 7708"/>
                <a:gd name="T90" fmla="*/ 1393 w 3366"/>
                <a:gd name="T91" fmla="*/ 5050 h 7708"/>
                <a:gd name="T92" fmla="*/ 1315 w 3366"/>
                <a:gd name="T93" fmla="*/ 5038 h 7708"/>
                <a:gd name="T94" fmla="*/ 1212 w 3366"/>
                <a:gd name="T95" fmla="*/ 5410 h 7708"/>
                <a:gd name="T96" fmla="*/ 939 w 3366"/>
                <a:gd name="T97" fmla="*/ 7123 h 7708"/>
                <a:gd name="T98" fmla="*/ 901 w 3366"/>
                <a:gd name="T99" fmla="*/ 7393 h 7708"/>
                <a:gd name="T100" fmla="*/ 386 w 3366"/>
                <a:gd name="T101" fmla="*/ 7638 h 7708"/>
                <a:gd name="T102" fmla="*/ 1945 w 3366"/>
                <a:gd name="T103" fmla="*/ 1890 h 7708"/>
                <a:gd name="T104" fmla="*/ 1553 w 3366"/>
                <a:gd name="T105" fmla="*/ 1693 h 7708"/>
                <a:gd name="T106" fmla="*/ 1358 w 3366"/>
                <a:gd name="T107" fmla="*/ 1217 h 7708"/>
                <a:gd name="T108" fmla="*/ 1832 w 3366"/>
                <a:gd name="T109" fmla="*/ 579 h 7708"/>
                <a:gd name="T110" fmla="*/ 2219 w 3366"/>
                <a:gd name="T111" fmla="*/ 577 h 7708"/>
                <a:gd name="T112" fmla="*/ 2616 w 3366"/>
                <a:gd name="T113" fmla="*/ 902 h 7708"/>
                <a:gd name="T114" fmla="*/ 2696 w 3366"/>
                <a:gd name="T115" fmla="*/ 1223 h 7708"/>
                <a:gd name="T116" fmla="*/ 2249 w 3366"/>
                <a:gd name="T117" fmla="*/ 1853 h 7708"/>
                <a:gd name="T118" fmla="*/ 1945 w 3366"/>
                <a:gd name="T119" fmla="*/ 1890 h 7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6" h="7708">
                  <a:moveTo>
                    <a:pt x="386" y="7638"/>
                  </a:moveTo>
                  <a:cubicBezTo>
                    <a:pt x="351" y="7625"/>
                    <a:pt x="302" y="7599"/>
                    <a:pt x="277" y="7581"/>
                  </a:cubicBezTo>
                  <a:cubicBezTo>
                    <a:pt x="224" y="7540"/>
                    <a:pt x="172" y="7445"/>
                    <a:pt x="162" y="7370"/>
                  </a:cubicBezTo>
                  <a:cubicBezTo>
                    <a:pt x="154" y="7308"/>
                    <a:pt x="218" y="6644"/>
                    <a:pt x="264" y="6317"/>
                  </a:cubicBezTo>
                  <a:cubicBezTo>
                    <a:pt x="343" y="5751"/>
                    <a:pt x="451" y="5247"/>
                    <a:pt x="585" y="4817"/>
                  </a:cubicBezTo>
                  <a:cubicBezTo>
                    <a:pt x="641" y="4639"/>
                    <a:pt x="772" y="4280"/>
                    <a:pt x="807" y="4210"/>
                  </a:cubicBezTo>
                  <a:cubicBezTo>
                    <a:pt x="840" y="4145"/>
                    <a:pt x="864" y="3688"/>
                    <a:pt x="864" y="3129"/>
                  </a:cubicBezTo>
                  <a:lnTo>
                    <a:pt x="864" y="2667"/>
                  </a:lnTo>
                  <a:lnTo>
                    <a:pt x="774" y="2517"/>
                  </a:lnTo>
                  <a:cubicBezTo>
                    <a:pt x="447" y="1967"/>
                    <a:pt x="178" y="1259"/>
                    <a:pt x="50" y="611"/>
                  </a:cubicBezTo>
                  <a:cubicBezTo>
                    <a:pt x="0" y="357"/>
                    <a:pt x="45" y="216"/>
                    <a:pt x="210" y="110"/>
                  </a:cubicBezTo>
                  <a:cubicBezTo>
                    <a:pt x="380" y="0"/>
                    <a:pt x="573" y="16"/>
                    <a:pt x="688" y="150"/>
                  </a:cubicBezTo>
                  <a:cubicBezTo>
                    <a:pt x="737" y="208"/>
                    <a:pt x="747" y="237"/>
                    <a:pt x="806" y="504"/>
                  </a:cubicBezTo>
                  <a:cubicBezTo>
                    <a:pt x="913" y="980"/>
                    <a:pt x="1045" y="1365"/>
                    <a:pt x="1242" y="1773"/>
                  </a:cubicBezTo>
                  <a:cubicBezTo>
                    <a:pt x="1281" y="1852"/>
                    <a:pt x="1313" y="1918"/>
                    <a:pt x="1315" y="1921"/>
                  </a:cubicBezTo>
                  <a:cubicBezTo>
                    <a:pt x="1317" y="1923"/>
                    <a:pt x="1357" y="1916"/>
                    <a:pt x="1406" y="1905"/>
                  </a:cubicBezTo>
                  <a:cubicBezTo>
                    <a:pt x="1584" y="1865"/>
                    <a:pt x="1774" y="1886"/>
                    <a:pt x="1922" y="1963"/>
                  </a:cubicBezTo>
                  <a:cubicBezTo>
                    <a:pt x="2014" y="2011"/>
                    <a:pt x="2140" y="2125"/>
                    <a:pt x="2193" y="2208"/>
                  </a:cubicBezTo>
                  <a:cubicBezTo>
                    <a:pt x="2223" y="2254"/>
                    <a:pt x="2243" y="2270"/>
                    <a:pt x="2285" y="2283"/>
                  </a:cubicBezTo>
                  <a:cubicBezTo>
                    <a:pt x="2314" y="2292"/>
                    <a:pt x="2365" y="2322"/>
                    <a:pt x="2397" y="2349"/>
                  </a:cubicBezTo>
                  <a:cubicBezTo>
                    <a:pt x="2429" y="2376"/>
                    <a:pt x="2459" y="2398"/>
                    <a:pt x="2463" y="2398"/>
                  </a:cubicBezTo>
                  <a:cubicBezTo>
                    <a:pt x="2467" y="2398"/>
                    <a:pt x="2470" y="2384"/>
                    <a:pt x="2470" y="2366"/>
                  </a:cubicBezTo>
                  <a:cubicBezTo>
                    <a:pt x="2470" y="2273"/>
                    <a:pt x="2562" y="2153"/>
                    <a:pt x="2676" y="2097"/>
                  </a:cubicBezTo>
                  <a:cubicBezTo>
                    <a:pt x="2745" y="2063"/>
                    <a:pt x="2771" y="2057"/>
                    <a:pt x="2854" y="2056"/>
                  </a:cubicBezTo>
                  <a:cubicBezTo>
                    <a:pt x="3006" y="2056"/>
                    <a:pt x="3116" y="2117"/>
                    <a:pt x="3177" y="2237"/>
                  </a:cubicBezTo>
                  <a:cubicBezTo>
                    <a:pt x="3234" y="2349"/>
                    <a:pt x="3285" y="2628"/>
                    <a:pt x="3338" y="3114"/>
                  </a:cubicBezTo>
                  <a:cubicBezTo>
                    <a:pt x="3363" y="3344"/>
                    <a:pt x="3366" y="3412"/>
                    <a:pt x="3356" y="3470"/>
                  </a:cubicBezTo>
                  <a:cubicBezTo>
                    <a:pt x="3329" y="3615"/>
                    <a:pt x="3229" y="3739"/>
                    <a:pt x="3105" y="3780"/>
                  </a:cubicBezTo>
                  <a:cubicBezTo>
                    <a:pt x="3025" y="3806"/>
                    <a:pt x="2905" y="3799"/>
                    <a:pt x="2829" y="3762"/>
                  </a:cubicBezTo>
                  <a:cubicBezTo>
                    <a:pt x="2799" y="3747"/>
                    <a:pt x="2678" y="3651"/>
                    <a:pt x="2560" y="3548"/>
                  </a:cubicBezTo>
                  <a:cubicBezTo>
                    <a:pt x="2442" y="3445"/>
                    <a:pt x="2339" y="3360"/>
                    <a:pt x="2332" y="3360"/>
                  </a:cubicBezTo>
                  <a:cubicBezTo>
                    <a:pt x="2325" y="3360"/>
                    <a:pt x="2320" y="3416"/>
                    <a:pt x="2320" y="3507"/>
                  </a:cubicBezTo>
                  <a:cubicBezTo>
                    <a:pt x="2320" y="3736"/>
                    <a:pt x="2281" y="4306"/>
                    <a:pt x="2255" y="4460"/>
                  </a:cubicBezTo>
                  <a:cubicBezTo>
                    <a:pt x="2248" y="4505"/>
                    <a:pt x="2230" y="4570"/>
                    <a:pt x="2217" y="4604"/>
                  </a:cubicBezTo>
                  <a:cubicBezTo>
                    <a:pt x="2195" y="4661"/>
                    <a:pt x="2194" y="4678"/>
                    <a:pt x="2206" y="4785"/>
                  </a:cubicBezTo>
                  <a:cubicBezTo>
                    <a:pt x="2214" y="4851"/>
                    <a:pt x="2229" y="5022"/>
                    <a:pt x="2239" y="5167"/>
                  </a:cubicBezTo>
                  <a:cubicBezTo>
                    <a:pt x="2273" y="5630"/>
                    <a:pt x="2344" y="6462"/>
                    <a:pt x="2363" y="6617"/>
                  </a:cubicBezTo>
                  <a:cubicBezTo>
                    <a:pt x="2407" y="6959"/>
                    <a:pt x="2432" y="7187"/>
                    <a:pt x="2432" y="7225"/>
                  </a:cubicBezTo>
                  <a:cubicBezTo>
                    <a:pt x="2432" y="7247"/>
                    <a:pt x="2423" y="7298"/>
                    <a:pt x="2411" y="7339"/>
                  </a:cubicBezTo>
                  <a:cubicBezTo>
                    <a:pt x="2383" y="7440"/>
                    <a:pt x="2289" y="7542"/>
                    <a:pt x="2180" y="7592"/>
                  </a:cubicBezTo>
                  <a:cubicBezTo>
                    <a:pt x="2074" y="7641"/>
                    <a:pt x="1943" y="7644"/>
                    <a:pt x="1854" y="7600"/>
                  </a:cubicBezTo>
                  <a:cubicBezTo>
                    <a:pt x="1787" y="7567"/>
                    <a:pt x="1723" y="7485"/>
                    <a:pt x="1706" y="7412"/>
                  </a:cubicBezTo>
                  <a:cubicBezTo>
                    <a:pt x="1674" y="7267"/>
                    <a:pt x="1574" y="6368"/>
                    <a:pt x="1538" y="5898"/>
                  </a:cubicBezTo>
                  <a:cubicBezTo>
                    <a:pt x="1527" y="5757"/>
                    <a:pt x="1508" y="5521"/>
                    <a:pt x="1494" y="5373"/>
                  </a:cubicBezTo>
                  <a:cubicBezTo>
                    <a:pt x="1481" y="5225"/>
                    <a:pt x="1470" y="5095"/>
                    <a:pt x="1470" y="5085"/>
                  </a:cubicBezTo>
                  <a:cubicBezTo>
                    <a:pt x="1470" y="5071"/>
                    <a:pt x="1447" y="5061"/>
                    <a:pt x="1393" y="5050"/>
                  </a:cubicBezTo>
                  <a:cubicBezTo>
                    <a:pt x="1351" y="5041"/>
                    <a:pt x="1316" y="5035"/>
                    <a:pt x="1315" y="5038"/>
                  </a:cubicBezTo>
                  <a:cubicBezTo>
                    <a:pt x="1308" y="5048"/>
                    <a:pt x="1249" y="5261"/>
                    <a:pt x="1212" y="5410"/>
                  </a:cubicBezTo>
                  <a:cubicBezTo>
                    <a:pt x="1088" y="5895"/>
                    <a:pt x="1004" y="6428"/>
                    <a:pt x="939" y="7123"/>
                  </a:cubicBezTo>
                  <a:cubicBezTo>
                    <a:pt x="928" y="7236"/>
                    <a:pt x="911" y="7358"/>
                    <a:pt x="901" y="7393"/>
                  </a:cubicBezTo>
                  <a:cubicBezTo>
                    <a:pt x="846" y="7584"/>
                    <a:pt x="584" y="7708"/>
                    <a:pt x="386" y="7638"/>
                  </a:cubicBezTo>
                  <a:close/>
                  <a:moveTo>
                    <a:pt x="1945" y="1890"/>
                  </a:moveTo>
                  <a:cubicBezTo>
                    <a:pt x="1809" y="1873"/>
                    <a:pt x="1653" y="1795"/>
                    <a:pt x="1553" y="1693"/>
                  </a:cubicBezTo>
                  <a:cubicBezTo>
                    <a:pt x="1423" y="1562"/>
                    <a:pt x="1358" y="1401"/>
                    <a:pt x="1358" y="1217"/>
                  </a:cubicBezTo>
                  <a:cubicBezTo>
                    <a:pt x="1358" y="929"/>
                    <a:pt x="1548" y="673"/>
                    <a:pt x="1832" y="579"/>
                  </a:cubicBezTo>
                  <a:cubicBezTo>
                    <a:pt x="1923" y="548"/>
                    <a:pt x="2123" y="548"/>
                    <a:pt x="2219" y="577"/>
                  </a:cubicBezTo>
                  <a:cubicBezTo>
                    <a:pt x="2377" y="625"/>
                    <a:pt x="2545" y="763"/>
                    <a:pt x="2616" y="902"/>
                  </a:cubicBezTo>
                  <a:cubicBezTo>
                    <a:pt x="2678" y="1025"/>
                    <a:pt x="2696" y="1097"/>
                    <a:pt x="2696" y="1223"/>
                  </a:cubicBezTo>
                  <a:cubicBezTo>
                    <a:pt x="2696" y="1512"/>
                    <a:pt x="2524" y="1755"/>
                    <a:pt x="2249" y="1853"/>
                  </a:cubicBezTo>
                  <a:cubicBezTo>
                    <a:pt x="2164" y="1884"/>
                    <a:pt x="2028" y="1900"/>
                    <a:pt x="1945" y="189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20EE7300-1920-4D9C-A57E-45AB462C9AD0}"/>
              </a:ext>
            </a:extLst>
          </p:cNvPr>
          <p:cNvSpPr/>
          <p:nvPr/>
        </p:nvSpPr>
        <p:spPr>
          <a:xfrm>
            <a:off x="9010526" y="3433037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2F23C1D0-441F-4DB2-ACF2-E2DD29D0057B}"/>
              </a:ext>
            </a:extLst>
          </p:cNvPr>
          <p:cNvSpPr/>
          <p:nvPr/>
        </p:nvSpPr>
        <p:spPr>
          <a:xfrm>
            <a:off x="8248963" y="4331573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E8E02D71-8469-41C1-9C0E-6742E8EF3231}"/>
              </a:ext>
            </a:extLst>
          </p:cNvPr>
          <p:cNvGrpSpPr/>
          <p:nvPr/>
        </p:nvGrpSpPr>
        <p:grpSpPr>
          <a:xfrm>
            <a:off x="135765" y="3757227"/>
            <a:ext cx="1746470" cy="1746470"/>
            <a:chOff x="2451655" y="1830322"/>
            <a:chExt cx="1746470" cy="1746470"/>
          </a:xfrm>
          <a:effectLst/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0ACF8CE3-993E-4A4B-901E-4935D76BA0C2}"/>
                </a:ext>
              </a:extLst>
            </p:cNvPr>
            <p:cNvSpPr/>
            <p:nvPr/>
          </p:nvSpPr>
          <p:spPr>
            <a:xfrm>
              <a:off x="2451655" y="1830322"/>
              <a:ext cx="1746470" cy="1746470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13425B1B-1F9F-4FF5-91D6-E73814B449D8}"/>
                </a:ext>
              </a:extLst>
            </p:cNvPr>
            <p:cNvSpPr/>
            <p:nvPr/>
          </p:nvSpPr>
          <p:spPr>
            <a:xfrm>
              <a:off x="3140160" y="1897480"/>
              <a:ext cx="184730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5045B72C-7B35-4D52-8293-59306249D8F5}"/>
                </a:ext>
              </a:extLst>
            </p:cNvPr>
            <p:cNvSpPr/>
            <p:nvPr/>
          </p:nvSpPr>
          <p:spPr>
            <a:xfrm>
              <a:off x="2461078" y="2322031"/>
              <a:ext cx="164672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2000" dirty="0" smtClean="0">
                  <a:solidFill>
                    <a:schemeClr val="tx2"/>
                  </a:solidFill>
                  <a:latin typeface="+mn-lt"/>
                </a:rPr>
                <a:t>5</a:t>
              </a:r>
              <a:endParaRPr lang="en-IN" sz="2000" dirty="0">
                <a:solidFill>
                  <a:schemeClr val="tx2"/>
                </a:solidFill>
                <a:latin typeface="+mn-lt"/>
              </a:endParaRPr>
            </a:p>
            <a:p>
              <a:pPr algn="ctr"/>
              <a:r>
                <a:rPr lang="en-IN" sz="2000" dirty="0" smtClean="0">
                  <a:solidFill>
                    <a:schemeClr val="tx2"/>
                  </a:solidFill>
                  <a:latin typeface="+mn-lt"/>
                </a:rPr>
                <a:t>GitHub</a:t>
              </a:r>
              <a:endParaRPr lang="en-IN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xmlns="" id="{66CBE894-E707-4D0E-9DDC-72A1885C83D0}"/>
                </a:ext>
              </a:extLst>
            </p:cNvPr>
            <p:cNvSpPr/>
            <p:nvPr/>
          </p:nvSpPr>
          <p:spPr>
            <a:xfrm>
              <a:off x="2610280" y="2709778"/>
              <a:ext cx="136824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endParaRPr lang="en-IN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xmlns="" id="{E8E02D71-8469-41C1-9C0E-6742E8EF3231}"/>
              </a:ext>
            </a:extLst>
          </p:cNvPr>
          <p:cNvGrpSpPr/>
          <p:nvPr/>
        </p:nvGrpSpPr>
        <p:grpSpPr>
          <a:xfrm>
            <a:off x="635266" y="1584773"/>
            <a:ext cx="4157736" cy="3110864"/>
            <a:chOff x="-49929" y="-185642"/>
            <a:chExt cx="4157736" cy="3110864"/>
          </a:xfrm>
          <a:effectLst/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0ACF8CE3-993E-4A4B-901E-4935D76BA0C2}"/>
                </a:ext>
              </a:extLst>
            </p:cNvPr>
            <p:cNvSpPr/>
            <p:nvPr/>
          </p:nvSpPr>
          <p:spPr>
            <a:xfrm>
              <a:off x="-49929" y="-185642"/>
              <a:ext cx="1746470" cy="1746470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13425B1B-1F9F-4FF5-91D6-E73814B449D8}"/>
                </a:ext>
              </a:extLst>
            </p:cNvPr>
            <p:cNvSpPr/>
            <p:nvPr/>
          </p:nvSpPr>
          <p:spPr>
            <a:xfrm>
              <a:off x="3140160" y="1897480"/>
              <a:ext cx="184730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5045B72C-7B35-4D52-8293-59306249D8F5}"/>
                </a:ext>
              </a:extLst>
            </p:cNvPr>
            <p:cNvSpPr/>
            <p:nvPr/>
          </p:nvSpPr>
          <p:spPr>
            <a:xfrm>
              <a:off x="2461078" y="2322031"/>
              <a:ext cx="164672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IN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66CBE894-E707-4D0E-9DDC-72A1885C83D0}"/>
                </a:ext>
              </a:extLst>
            </p:cNvPr>
            <p:cNvSpPr/>
            <p:nvPr/>
          </p:nvSpPr>
          <p:spPr>
            <a:xfrm>
              <a:off x="2610280" y="2709778"/>
              <a:ext cx="136824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endParaRPr lang="en-IN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899308" y="2098290"/>
            <a:ext cx="1166200" cy="690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   1</a:t>
            </a:r>
          </a:p>
          <a:p>
            <a:r>
              <a:rPr lang="fr-FR" dirty="0" err="1" smtClean="0"/>
              <a:t>StarUML</a:t>
            </a:r>
            <a:r>
              <a:rPr lang="fr-FR" dirty="0" smtClean="0"/>
              <a:t> </a:t>
            </a:r>
            <a:endParaRPr lang="fr-FR" dirty="0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xmlns="" id="{E8E02D71-8469-41C1-9C0E-6742E8EF3231}"/>
              </a:ext>
            </a:extLst>
          </p:cNvPr>
          <p:cNvGrpSpPr/>
          <p:nvPr/>
        </p:nvGrpSpPr>
        <p:grpSpPr>
          <a:xfrm>
            <a:off x="2137625" y="4456705"/>
            <a:ext cx="1746470" cy="1746470"/>
            <a:chOff x="2451655" y="1830322"/>
            <a:chExt cx="1746470" cy="1746470"/>
          </a:xfrm>
          <a:effectLst/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xmlns="" id="{0ACF8CE3-993E-4A4B-901E-4935D76BA0C2}"/>
                </a:ext>
              </a:extLst>
            </p:cNvPr>
            <p:cNvSpPr/>
            <p:nvPr/>
          </p:nvSpPr>
          <p:spPr>
            <a:xfrm>
              <a:off x="2451655" y="1830322"/>
              <a:ext cx="1746470" cy="1746470"/>
            </a:xfrm>
            <a:prstGeom prst="ellipse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xmlns="" id="{13425B1B-1F9F-4FF5-91D6-E73814B449D8}"/>
                </a:ext>
              </a:extLst>
            </p:cNvPr>
            <p:cNvSpPr/>
            <p:nvPr/>
          </p:nvSpPr>
          <p:spPr>
            <a:xfrm>
              <a:off x="3140160" y="1897480"/>
              <a:ext cx="184730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xmlns="" id="{5045B72C-7B35-4D52-8293-59306249D8F5}"/>
                </a:ext>
              </a:extLst>
            </p:cNvPr>
            <p:cNvSpPr/>
            <p:nvPr/>
          </p:nvSpPr>
          <p:spPr>
            <a:xfrm>
              <a:off x="2461078" y="2322031"/>
              <a:ext cx="164672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2000" dirty="0" smtClean="0">
                  <a:solidFill>
                    <a:schemeClr val="accent2"/>
                  </a:solidFill>
                  <a:latin typeface="+mn-lt"/>
                </a:rPr>
                <a:t>2</a:t>
              </a:r>
            </a:p>
            <a:p>
              <a:pPr algn="ctr"/>
              <a:r>
                <a:rPr lang="en-IN" sz="2000" dirty="0" err="1" smtClean="0">
                  <a:solidFill>
                    <a:schemeClr val="accent2"/>
                  </a:solidFill>
                  <a:latin typeface="+mn-lt"/>
                </a:rPr>
                <a:t>Devops</a:t>
              </a:r>
              <a:endParaRPr lang="en-IN" sz="20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66CBE894-E707-4D0E-9DDC-72A1885C83D0}"/>
                </a:ext>
              </a:extLst>
            </p:cNvPr>
            <p:cNvSpPr/>
            <p:nvPr/>
          </p:nvSpPr>
          <p:spPr>
            <a:xfrm>
              <a:off x="2610280" y="2709778"/>
              <a:ext cx="136824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endParaRPr lang="en-IN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24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E11114-A52A-4A54-9812-2B97ADC9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 smtClean="0"/>
              <a:t>Plan</a:t>
            </a:r>
            <a:endParaRPr lang="en-IN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B0FE189-EDB3-470E-BE4C-5DCD3F1BE28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2450" y="2076941"/>
            <a:ext cx="946311" cy="96456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B70AE4E-698B-405F-8135-09725685648C}"/>
              </a:ext>
            </a:extLst>
          </p:cNvPr>
          <p:cNvCxnSpPr>
            <a:cxnSpLocks/>
          </p:cNvCxnSpPr>
          <p:nvPr/>
        </p:nvCxnSpPr>
        <p:spPr>
          <a:xfrm flipV="1">
            <a:off x="2629243" y="2852906"/>
            <a:ext cx="1383049" cy="6685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EC5C21E-6F76-4FC0-86C0-4B64DB06EBB7}"/>
              </a:ext>
            </a:extLst>
          </p:cNvPr>
          <p:cNvCxnSpPr>
            <a:cxnSpLocks/>
            <a:stCxn id="3" idx="6"/>
            <a:endCxn id="8" idx="2"/>
          </p:cNvCxnSpPr>
          <p:nvPr/>
        </p:nvCxnSpPr>
        <p:spPr>
          <a:xfrm>
            <a:off x="2713584" y="3813023"/>
            <a:ext cx="19324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80C5F7F-0AF1-4CBB-BA02-44081638F827}"/>
              </a:ext>
            </a:extLst>
          </p:cNvPr>
          <p:cNvCxnSpPr>
            <a:cxnSpLocks/>
          </p:cNvCxnSpPr>
          <p:nvPr/>
        </p:nvCxnSpPr>
        <p:spPr>
          <a:xfrm>
            <a:off x="2565769" y="4235930"/>
            <a:ext cx="1446522" cy="56013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BFCF6D79-4150-4F75-A06B-8DB25C19226E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146131" y="4601690"/>
            <a:ext cx="1012630" cy="94741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xmlns="" id="{6D580469-BE66-415D-8B5B-0A2CE94AF10D}"/>
              </a:ext>
            </a:extLst>
          </p:cNvPr>
          <p:cNvSpPr/>
          <p:nvPr/>
        </p:nvSpPr>
        <p:spPr>
          <a:xfrm>
            <a:off x="2983004" y="1052553"/>
            <a:ext cx="1200146" cy="120014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4B8840A-00BC-4934-9B5E-4D399BC7F537}"/>
              </a:ext>
            </a:extLst>
          </p:cNvPr>
          <p:cNvSpPr/>
          <p:nvPr/>
        </p:nvSpPr>
        <p:spPr>
          <a:xfrm>
            <a:off x="3899564" y="2132751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6A64479A-27BB-4272-AE59-CF09EA649029}"/>
              </a:ext>
            </a:extLst>
          </p:cNvPr>
          <p:cNvSpPr/>
          <p:nvPr/>
        </p:nvSpPr>
        <p:spPr>
          <a:xfrm>
            <a:off x="4646064" y="3212950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0D5B57F-5932-407B-8D34-88AFB9FDEA1D}"/>
              </a:ext>
            </a:extLst>
          </p:cNvPr>
          <p:cNvSpPr/>
          <p:nvPr/>
        </p:nvSpPr>
        <p:spPr>
          <a:xfrm>
            <a:off x="3899564" y="42931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3E87B7AD-47F2-4759-8138-6244B81F2685}"/>
              </a:ext>
            </a:extLst>
          </p:cNvPr>
          <p:cNvSpPr/>
          <p:nvPr/>
        </p:nvSpPr>
        <p:spPr>
          <a:xfrm>
            <a:off x="2983004" y="53733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5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E751E3FC-224F-42A4-827D-C6EC2FEA6EE3}"/>
              </a:ext>
            </a:extLst>
          </p:cNvPr>
          <p:cNvSpPr/>
          <p:nvPr/>
        </p:nvSpPr>
        <p:spPr>
          <a:xfrm>
            <a:off x="793350" y="2852906"/>
            <a:ext cx="1920234" cy="19202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EDAFDA72-6A9C-4524-8C2B-9B5A6B977A6F}"/>
              </a:ext>
            </a:extLst>
          </p:cNvPr>
          <p:cNvSpPr/>
          <p:nvPr/>
        </p:nvSpPr>
        <p:spPr>
          <a:xfrm>
            <a:off x="981944" y="3041501"/>
            <a:ext cx="1543045" cy="1543045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/>
          </a:p>
        </p:txBody>
      </p:sp>
      <p:pic>
        <p:nvPicPr>
          <p:cNvPr id="36" name="Graphic 35" descr="Gears">
            <a:extLst>
              <a:ext uri="{FF2B5EF4-FFF2-40B4-BE49-F238E27FC236}">
                <a16:creationId xmlns:a16="http://schemas.microsoft.com/office/drawing/2014/main" xmlns="" id="{FD91B5BF-9B5C-4F68-8EA3-006140B53A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394" y="3212950"/>
            <a:ext cx="1200146" cy="12001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F10479C-F9E2-4785-A25B-7500F24279F8}"/>
              </a:ext>
            </a:extLst>
          </p:cNvPr>
          <p:cNvGrpSpPr/>
          <p:nvPr/>
        </p:nvGrpSpPr>
        <p:grpSpPr>
          <a:xfrm>
            <a:off x="4299109" y="1113326"/>
            <a:ext cx="6680201" cy="738424"/>
            <a:chOff x="4229659" y="1113326"/>
            <a:chExt cx="6680201" cy="73842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153725B8-0C53-4DA8-B643-33D5429545D9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DC3F78C-9956-4491-96D5-7F6083C04520}"/>
                </a:ext>
              </a:extLst>
            </p:cNvPr>
            <p:cNvSpPr/>
            <p:nvPr/>
          </p:nvSpPr>
          <p:spPr>
            <a:xfrm>
              <a:off x="4229659" y="1113326"/>
              <a:ext cx="462819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 i="1" dirty="0" err="1" smtClean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se</a:t>
              </a:r>
              <a:r>
                <a:rPr lang="en-IN" sz="1800" b="1" i="1" dirty="0" smtClean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IN" sz="1800" b="1" i="1" dirty="0" err="1" smtClean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</a:t>
              </a:r>
              <a:r>
                <a:rPr lang="en-IN" sz="1800" b="1" i="1" dirty="0" smtClean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lace de la page qui </a:t>
              </a:r>
              <a:r>
                <a:rPr lang="en-IN" sz="1800" b="1" i="1" dirty="0" err="1" smtClean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tient</a:t>
              </a:r>
              <a:r>
                <a:rPr lang="en-IN" sz="1800" b="1" i="1" dirty="0" smtClean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e menu</a:t>
              </a:r>
              <a:endParaRPr lang="en-US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F510298-8A2A-4DA5-AB9F-1727FA20CFA5}"/>
              </a:ext>
            </a:extLst>
          </p:cNvPr>
          <p:cNvSpPr/>
          <p:nvPr/>
        </p:nvSpPr>
        <p:spPr>
          <a:xfrm>
            <a:off x="5359655" y="2303077"/>
            <a:ext cx="3557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se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lace de la page </a:t>
            </a:r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ilièr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0445A05D-8006-4312-AE25-B566B4CD89DA}"/>
              </a:ext>
            </a:extLst>
          </p:cNvPr>
          <p:cNvSpPr/>
          <p:nvPr/>
        </p:nvSpPr>
        <p:spPr>
          <a:xfrm>
            <a:off x="6064601" y="3462050"/>
            <a:ext cx="38395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se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lace de la page </a:t>
            </a:r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étudian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E9E6B00-BED9-4032-9276-8C9F442967AF}"/>
              </a:ext>
            </a:extLst>
          </p:cNvPr>
          <p:cNvSpPr/>
          <p:nvPr/>
        </p:nvSpPr>
        <p:spPr>
          <a:xfrm>
            <a:off x="5359655" y="4601690"/>
            <a:ext cx="40446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se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lace de la page </a:t>
            </a:r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tilisateur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981C4C1C-AA86-44F5-822A-24C9D5518BD8}"/>
              </a:ext>
            </a:extLst>
          </p:cNvPr>
          <p:cNvSpPr/>
          <p:nvPr/>
        </p:nvSpPr>
        <p:spPr>
          <a:xfrm>
            <a:off x="4499637" y="5741330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écurisation</a:t>
            </a:r>
            <a:r>
              <a:rPr lang="en-IN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ar session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712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E11114-A52A-4A54-9812-2B97ADC9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 smtClean="0"/>
              <a:t>Plan</a:t>
            </a:r>
            <a:endParaRPr lang="en-IN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B0FE189-EDB3-470E-BE4C-5DCD3F1BE28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2450" y="2076941"/>
            <a:ext cx="946311" cy="96456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B70AE4E-698B-405F-8135-09725685648C}"/>
              </a:ext>
            </a:extLst>
          </p:cNvPr>
          <p:cNvCxnSpPr>
            <a:cxnSpLocks/>
          </p:cNvCxnSpPr>
          <p:nvPr/>
        </p:nvCxnSpPr>
        <p:spPr>
          <a:xfrm flipV="1">
            <a:off x="2629243" y="2852906"/>
            <a:ext cx="1383049" cy="668585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EC5C21E-6F76-4FC0-86C0-4B64DB06EBB7}"/>
              </a:ext>
            </a:extLst>
          </p:cNvPr>
          <p:cNvCxnSpPr>
            <a:cxnSpLocks/>
            <a:stCxn id="3" idx="6"/>
            <a:endCxn id="8" idx="2"/>
          </p:cNvCxnSpPr>
          <p:nvPr/>
        </p:nvCxnSpPr>
        <p:spPr>
          <a:xfrm>
            <a:off x="2713584" y="3813023"/>
            <a:ext cx="19324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80C5F7F-0AF1-4CBB-BA02-44081638F827}"/>
              </a:ext>
            </a:extLst>
          </p:cNvPr>
          <p:cNvCxnSpPr>
            <a:cxnSpLocks/>
          </p:cNvCxnSpPr>
          <p:nvPr/>
        </p:nvCxnSpPr>
        <p:spPr>
          <a:xfrm>
            <a:off x="2565769" y="4235930"/>
            <a:ext cx="1446522" cy="56013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BFCF6D79-4150-4F75-A06B-8DB25C19226E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146131" y="4601690"/>
            <a:ext cx="1012630" cy="94741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xmlns="" id="{6D580469-BE66-415D-8B5B-0A2CE94AF10D}"/>
              </a:ext>
            </a:extLst>
          </p:cNvPr>
          <p:cNvSpPr/>
          <p:nvPr/>
        </p:nvSpPr>
        <p:spPr>
          <a:xfrm>
            <a:off x="2983004" y="1052553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4B8840A-00BC-4934-9B5E-4D399BC7F537}"/>
              </a:ext>
            </a:extLst>
          </p:cNvPr>
          <p:cNvSpPr/>
          <p:nvPr/>
        </p:nvSpPr>
        <p:spPr>
          <a:xfrm>
            <a:off x="3899564" y="2132751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6A64479A-27BB-4272-AE59-CF09EA649029}"/>
              </a:ext>
            </a:extLst>
          </p:cNvPr>
          <p:cNvSpPr/>
          <p:nvPr/>
        </p:nvSpPr>
        <p:spPr>
          <a:xfrm>
            <a:off x="4646064" y="3212950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0D5B57F-5932-407B-8D34-88AFB9FDEA1D}"/>
              </a:ext>
            </a:extLst>
          </p:cNvPr>
          <p:cNvSpPr/>
          <p:nvPr/>
        </p:nvSpPr>
        <p:spPr>
          <a:xfrm>
            <a:off x="3899564" y="42931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3E87B7AD-47F2-4759-8138-6244B81F2685}"/>
              </a:ext>
            </a:extLst>
          </p:cNvPr>
          <p:cNvSpPr/>
          <p:nvPr/>
        </p:nvSpPr>
        <p:spPr>
          <a:xfrm>
            <a:off x="2983004" y="53733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5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E751E3FC-224F-42A4-827D-C6EC2FEA6EE3}"/>
              </a:ext>
            </a:extLst>
          </p:cNvPr>
          <p:cNvSpPr/>
          <p:nvPr/>
        </p:nvSpPr>
        <p:spPr>
          <a:xfrm>
            <a:off x="793350" y="2852906"/>
            <a:ext cx="1920234" cy="19202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EDAFDA72-6A9C-4524-8C2B-9B5A6B977A6F}"/>
              </a:ext>
            </a:extLst>
          </p:cNvPr>
          <p:cNvSpPr/>
          <p:nvPr/>
        </p:nvSpPr>
        <p:spPr>
          <a:xfrm>
            <a:off x="981944" y="3041501"/>
            <a:ext cx="1543045" cy="1543045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/>
          </a:p>
        </p:txBody>
      </p:sp>
      <p:pic>
        <p:nvPicPr>
          <p:cNvPr id="36" name="Graphic 35" descr="Gears">
            <a:extLst>
              <a:ext uri="{FF2B5EF4-FFF2-40B4-BE49-F238E27FC236}">
                <a16:creationId xmlns:a16="http://schemas.microsoft.com/office/drawing/2014/main" xmlns="" id="{FD91B5BF-9B5C-4F68-8EA3-006140B53A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394" y="3212950"/>
            <a:ext cx="1200146" cy="12001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F10479C-F9E2-4785-A25B-7500F24279F8}"/>
              </a:ext>
            </a:extLst>
          </p:cNvPr>
          <p:cNvGrpSpPr/>
          <p:nvPr/>
        </p:nvGrpSpPr>
        <p:grpSpPr>
          <a:xfrm>
            <a:off x="4299109" y="1113326"/>
            <a:ext cx="6680201" cy="738424"/>
            <a:chOff x="4229659" y="1113326"/>
            <a:chExt cx="6680201" cy="73842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153725B8-0C53-4DA8-B643-33D5429545D9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DC3F78C-9956-4491-96D5-7F6083C04520}"/>
                </a:ext>
              </a:extLst>
            </p:cNvPr>
            <p:cNvSpPr/>
            <p:nvPr/>
          </p:nvSpPr>
          <p:spPr>
            <a:xfrm>
              <a:off x="4229659" y="1113326"/>
              <a:ext cx="462819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se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lace de la page qui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tient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e menu</a:t>
              </a:r>
              <a:endParaRPr lang="en-US" i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F510298-8A2A-4DA5-AB9F-1727FA20CFA5}"/>
              </a:ext>
            </a:extLst>
          </p:cNvPr>
          <p:cNvSpPr/>
          <p:nvPr/>
        </p:nvSpPr>
        <p:spPr>
          <a:xfrm>
            <a:off x="5359655" y="2303077"/>
            <a:ext cx="3557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rgbClr val="0070C0"/>
                </a:solidFill>
              </a:rPr>
              <a:t>Mise</a:t>
            </a:r>
            <a:r>
              <a:rPr lang="en-IN" sz="1800" b="1" dirty="0" smtClean="0">
                <a:solidFill>
                  <a:srgbClr val="0070C0"/>
                </a:solidFill>
              </a:rPr>
              <a:t> </a:t>
            </a:r>
            <a:r>
              <a:rPr lang="en-IN" sz="1800" b="1" dirty="0" err="1" smtClean="0">
                <a:solidFill>
                  <a:srgbClr val="0070C0"/>
                </a:solidFill>
              </a:rPr>
              <a:t>en</a:t>
            </a:r>
            <a:r>
              <a:rPr lang="en-IN" sz="1800" b="1" dirty="0" smtClean="0">
                <a:solidFill>
                  <a:srgbClr val="0070C0"/>
                </a:solidFill>
              </a:rPr>
              <a:t> place de la page </a:t>
            </a:r>
            <a:r>
              <a:rPr lang="en-IN" sz="1800" b="1" dirty="0" err="1" smtClean="0">
                <a:solidFill>
                  <a:srgbClr val="0070C0"/>
                </a:solidFill>
              </a:rPr>
              <a:t>filière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0445A05D-8006-4312-AE25-B566B4CD89DA}"/>
              </a:ext>
            </a:extLst>
          </p:cNvPr>
          <p:cNvSpPr/>
          <p:nvPr/>
        </p:nvSpPr>
        <p:spPr>
          <a:xfrm>
            <a:off x="6064601" y="3462050"/>
            <a:ext cx="38395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ise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lace de la page </a:t>
            </a:r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étudiant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E9E6B00-BED9-4032-9276-8C9F442967AF}"/>
              </a:ext>
            </a:extLst>
          </p:cNvPr>
          <p:cNvSpPr/>
          <p:nvPr/>
        </p:nvSpPr>
        <p:spPr>
          <a:xfrm>
            <a:off x="5359655" y="4601690"/>
            <a:ext cx="40446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ise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lace de la page </a:t>
            </a:r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ilisateur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981C4C1C-AA86-44F5-822A-24C9D5518BD8}"/>
              </a:ext>
            </a:extLst>
          </p:cNvPr>
          <p:cNvSpPr/>
          <p:nvPr/>
        </p:nvSpPr>
        <p:spPr>
          <a:xfrm>
            <a:off x="4499637" y="5741330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écurisation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ar session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65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E11114-A52A-4A54-9812-2B97ADC9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 smtClean="0"/>
              <a:t>Plan</a:t>
            </a:r>
            <a:endParaRPr lang="en-IN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B0FE189-EDB3-470E-BE4C-5DCD3F1BE28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2450" y="2076941"/>
            <a:ext cx="946311" cy="96456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B70AE4E-698B-405F-8135-09725685648C}"/>
              </a:ext>
            </a:extLst>
          </p:cNvPr>
          <p:cNvCxnSpPr>
            <a:cxnSpLocks/>
          </p:cNvCxnSpPr>
          <p:nvPr/>
        </p:nvCxnSpPr>
        <p:spPr>
          <a:xfrm flipV="1">
            <a:off x="2629243" y="2852906"/>
            <a:ext cx="1383049" cy="668585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EC5C21E-6F76-4FC0-86C0-4B64DB06EBB7}"/>
              </a:ext>
            </a:extLst>
          </p:cNvPr>
          <p:cNvCxnSpPr>
            <a:cxnSpLocks/>
            <a:stCxn id="3" idx="6"/>
            <a:endCxn id="8" idx="2"/>
          </p:cNvCxnSpPr>
          <p:nvPr/>
        </p:nvCxnSpPr>
        <p:spPr>
          <a:xfrm>
            <a:off x="2713584" y="3813023"/>
            <a:ext cx="1932480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80C5F7F-0AF1-4CBB-BA02-44081638F827}"/>
              </a:ext>
            </a:extLst>
          </p:cNvPr>
          <p:cNvCxnSpPr>
            <a:cxnSpLocks/>
          </p:cNvCxnSpPr>
          <p:nvPr/>
        </p:nvCxnSpPr>
        <p:spPr>
          <a:xfrm>
            <a:off x="2565769" y="4235930"/>
            <a:ext cx="1446522" cy="56013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BFCF6D79-4150-4F75-A06B-8DB25C19226E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146131" y="4601690"/>
            <a:ext cx="1012630" cy="94741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xmlns="" id="{6D580469-BE66-415D-8B5B-0A2CE94AF10D}"/>
              </a:ext>
            </a:extLst>
          </p:cNvPr>
          <p:cNvSpPr/>
          <p:nvPr/>
        </p:nvSpPr>
        <p:spPr>
          <a:xfrm>
            <a:off x="2983004" y="1052553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4B8840A-00BC-4934-9B5E-4D399BC7F537}"/>
              </a:ext>
            </a:extLst>
          </p:cNvPr>
          <p:cNvSpPr/>
          <p:nvPr/>
        </p:nvSpPr>
        <p:spPr>
          <a:xfrm>
            <a:off x="3899564" y="2132751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6A64479A-27BB-4272-AE59-CF09EA649029}"/>
              </a:ext>
            </a:extLst>
          </p:cNvPr>
          <p:cNvSpPr/>
          <p:nvPr/>
        </p:nvSpPr>
        <p:spPr>
          <a:xfrm>
            <a:off x="4646064" y="3212950"/>
            <a:ext cx="1200146" cy="1200145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0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0D5B57F-5932-407B-8D34-88AFB9FDEA1D}"/>
              </a:ext>
            </a:extLst>
          </p:cNvPr>
          <p:cNvSpPr/>
          <p:nvPr/>
        </p:nvSpPr>
        <p:spPr>
          <a:xfrm>
            <a:off x="3899564" y="42931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3E87B7AD-47F2-4759-8138-6244B81F2685}"/>
              </a:ext>
            </a:extLst>
          </p:cNvPr>
          <p:cNvSpPr/>
          <p:nvPr/>
        </p:nvSpPr>
        <p:spPr>
          <a:xfrm>
            <a:off x="2983004" y="53733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5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E751E3FC-224F-42A4-827D-C6EC2FEA6EE3}"/>
              </a:ext>
            </a:extLst>
          </p:cNvPr>
          <p:cNvSpPr/>
          <p:nvPr/>
        </p:nvSpPr>
        <p:spPr>
          <a:xfrm>
            <a:off x="793350" y="2852906"/>
            <a:ext cx="1920234" cy="19202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EDAFDA72-6A9C-4524-8C2B-9B5A6B977A6F}"/>
              </a:ext>
            </a:extLst>
          </p:cNvPr>
          <p:cNvSpPr/>
          <p:nvPr/>
        </p:nvSpPr>
        <p:spPr>
          <a:xfrm>
            <a:off x="981944" y="3041501"/>
            <a:ext cx="1543045" cy="1543045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/>
          </a:p>
        </p:txBody>
      </p:sp>
      <p:pic>
        <p:nvPicPr>
          <p:cNvPr id="36" name="Graphic 35" descr="Gears">
            <a:extLst>
              <a:ext uri="{FF2B5EF4-FFF2-40B4-BE49-F238E27FC236}">
                <a16:creationId xmlns:a16="http://schemas.microsoft.com/office/drawing/2014/main" xmlns="" id="{FD91B5BF-9B5C-4F68-8EA3-006140B53A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394" y="3212950"/>
            <a:ext cx="1200146" cy="12001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F10479C-F9E2-4785-A25B-7500F24279F8}"/>
              </a:ext>
            </a:extLst>
          </p:cNvPr>
          <p:cNvGrpSpPr/>
          <p:nvPr/>
        </p:nvGrpSpPr>
        <p:grpSpPr>
          <a:xfrm>
            <a:off x="4299109" y="1113326"/>
            <a:ext cx="6680201" cy="738424"/>
            <a:chOff x="4229659" y="1113326"/>
            <a:chExt cx="6680201" cy="73842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153725B8-0C53-4DA8-B643-33D5429545D9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DC3F78C-9956-4491-96D5-7F6083C04520}"/>
                </a:ext>
              </a:extLst>
            </p:cNvPr>
            <p:cNvSpPr/>
            <p:nvPr/>
          </p:nvSpPr>
          <p:spPr>
            <a:xfrm>
              <a:off x="4229659" y="1113326"/>
              <a:ext cx="462819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se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lace de la page qui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tient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e menu</a:t>
              </a:r>
              <a:endParaRPr lang="en-US" i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F510298-8A2A-4DA5-AB9F-1727FA20CFA5}"/>
              </a:ext>
            </a:extLst>
          </p:cNvPr>
          <p:cNvSpPr/>
          <p:nvPr/>
        </p:nvSpPr>
        <p:spPr>
          <a:xfrm>
            <a:off x="5359655" y="2303077"/>
            <a:ext cx="31941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ière</a:t>
            </a:r>
            <a:endParaRPr lang="en-US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0445A05D-8006-4312-AE25-B566B4CD89DA}"/>
              </a:ext>
            </a:extLst>
          </p:cNvPr>
          <p:cNvSpPr/>
          <p:nvPr/>
        </p:nvSpPr>
        <p:spPr>
          <a:xfrm>
            <a:off x="6064601" y="3462050"/>
            <a:ext cx="38395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accent1"/>
                </a:solidFill>
              </a:rPr>
              <a:t>Mise</a:t>
            </a:r>
            <a:r>
              <a:rPr lang="en-IN" sz="1800" b="1" dirty="0">
                <a:solidFill>
                  <a:schemeClr val="accent1"/>
                </a:solidFill>
              </a:rPr>
              <a:t> </a:t>
            </a:r>
            <a:r>
              <a:rPr lang="en-IN" sz="1800" b="1" dirty="0" err="1">
                <a:solidFill>
                  <a:schemeClr val="accent1"/>
                </a:solidFill>
              </a:rPr>
              <a:t>en</a:t>
            </a:r>
            <a:r>
              <a:rPr lang="en-IN" sz="1800" b="1" dirty="0">
                <a:solidFill>
                  <a:schemeClr val="accent1"/>
                </a:solidFill>
              </a:rPr>
              <a:t> place de la page </a:t>
            </a:r>
            <a:r>
              <a:rPr lang="en-IN" sz="1800" b="1" dirty="0" err="1">
                <a:solidFill>
                  <a:schemeClr val="accent1"/>
                </a:solidFill>
              </a:rPr>
              <a:t>étudiant</a:t>
            </a:r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E9E6B00-BED9-4032-9276-8C9F442967AF}"/>
              </a:ext>
            </a:extLst>
          </p:cNvPr>
          <p:cNvSpPr/>
          <p:nvPr/>
        </p:nvSpPr>
        <p:spPr>
          <a:xfrm>
            <a:off x="5359655" y="4601690"/>
            <a:ext cx="40446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ise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lace de la page </a:t>
            </a:r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ilisateur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981C4C1C-AA86-44F5-822A-24C9D5518BD8}"/>
              </a:ext>
            </a:extLst>
          </p:cNvPr>
          <p:cNvSpPr/>
          <p:nvPr/>
        </p:nvSpPr>
        <p:spPr>
          <a:xfrm>
            <a:off x="4499637" y="5741330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écurisation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ar session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509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E11114-A52A-4A54-9812-2B97ADC9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 smtClean="0"/>
              <a:t>Plan</a:t>
            </a:r>
            <a:endParaRPr lang="en-IN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B0FE189-EDB3-470E-BE4C-5DCD3F1BE28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2450" y="2076941"/>
            <a:ext cx="946311" cy="96456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B70AE4E-698B-405F-8135-09725685648C}"/>
              </a:ext>
            </a:extLst>
          </p:cNvPr>
          <p:cNvCxnSpPr>
            <a:cxnSpLocks/>
          </p:cNvCxnSpPr>
          <p:nvPr/>
        </p:nvCxnSpPr>
        <p:spPr>
          <a:xfrm flipV="1">
            <a:off x="2629243" y="2852906"/>
            <a:ext cx="1383049" cy="668585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EC5C21E-6F76-4FC0-86C0-4B64DB06EBB7}"/>
              </a:ext>
            </a:extLst>
          </p:cNvPr>
          <p:cNvCxnSpPr>
            <a:cxnSpLocks/>
            <a:stCxn id="3" idx="6"/>
            <a:endCxn id="8" idx="2"/>
          </p:cNvCxnSpPr>
          <p:nvPr/>
        </p:nvCxnSpPr>
        <p:spPr>
          <a:xfrm>
            <a:off x="2713584" y="3813023"/>
            <a:ext cx="1932480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80C5F7F-0AF1-4CBB-BA02-44081638F827}"/>
              </a:ext>
            </a:extLst>
          </p:cNvPr>
          <p:cNvCxnSpPr>
            <a:cxnSpLocks/>
          </p:cNvCxnSpPr>
          <p:nvPr/>
        </p:nvCxnSpPr>
        <p:spPr>
          <a:xfrm>
            <a:off x="2565769" y="4235930"/>
            <a:ext cx="1446522" cy="560137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BFCF6D79-4150-4F75-A06B-8DB25C19226E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146131" y="4601690"/>
            <a:ext cx="1012630" cy="94741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xmlns="" id="{6D580469-BE66-415D-8B5B-0A2CE94AF10D}"/>
              </a:ext>
            </a:extLst>
          </p:cNvPr>
          <p:cNvSpPr/>
          <p:nvPr/>
        </p:nvSpPr>
        <p:spPr>
          <a:xfrm>
            <a:off x="2983004" y="1052553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4B8840A-00BC-4934-9B5E-4D399BC7F537}"/>
              </a:ext>
            </a:extLst>
          </p:cNvPr>
          <p:cNvSpPr/>
          <p:nvPr/>
        </p:nvSpPr>
        <p:spPr>
          <a:xfrm>
            <a:off x="3899564" y="2132751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6A64479A-27BB-4272-AE59-CF09EA649029}"/>
              </a:ext>
            </a:extLst>
          </p:cNvPr>
          <p:cNvSpPr/>
          <p:nvPr/>
        </p:nvSpPr>
        <p:spPr>
          <a:xfrm>
            <a:off x="4646064" y="3212950"/>
            <a:ext cx="1200146" cy="1200145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0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0D5B57F-5932-407B-8D34-88AFB9FDEA1D}"/>
              </a:ext>
            </a:extLst>
          </p:cNvPr>
          <p:cNvSpPr/>
          <p:nvPr/>
        </p:nvSpPr>
        <p:spPr>
          <a:xfrm>
            <a:off x="3899564" y="4293148"/>
            <a:ext cx="1200146" cy="1200145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3E87B7AD-47F2-4759-8138-6244B81F2685}"/>
              </a:ext>
            </a:extLst>
          </p:cNvPr>
          <p:cNvSpPr/>
          <p:nvPr/>
        </p:nvSpPr>
        <p:spPr>
          <a:xfrm>
            <a:off x="2983004" y="53733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5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E751E3FC-224F-42A4-827D-C6EC2FEA6EE3}"/>
              </a:ext>
            </a:extLst>
          </p:cNvPr>
          <p:cNvSpPr/>
          <p:nvPr/>
        </p:nvSpPr>
        <p:spPr>
          <a:xfrm>
            <a:off x="793350" y="2852906"/>
            <a:ext cx="1920234" cy="19202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EDAFDA72-6A9C-4524-8C2B-9B5A6B977A6F}"/>
              </a:ext>
            </a:extLst>
          </p:cNvPr>
          <p:cNvSpPr/>
          <p:nvPr/>
        </p:nvSpPr>
        <p:spPr>
          <a:xfrm>
            <a:off x="981944" y="3041501"/>
            <a:ext cx="1543045" cy="1543045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/>
          </a:p>
        </p:txBody>
      </p:sp>
      <p:pic>
        <p:nvPicPr>
          <p:cNvPr id="36" name="Graphic 35" descr="Gears">
            <a:extLst>
              <a:ext uri="{FF2B5EF4-FFF2-40B4-BE49-F238E27FC236}">
                <a16:creationId xmlns:a16="http://schemas.microsoft.com/office/drawing/2014/main" xmlns="" id="{FD91B5BF-9B5C-4F68-8EA3-006140B53A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394" y="3212950"/>
            <a:ext cx="1200146" cy="12001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F10479C-F9E2-4785-A25B-7500F24279F8}"/>
              </a:ext>
            </a:extLst>
          </p:cNvPr>
          <p:cNvGrpSpPr/>
          <p:nvPr/>
        </p:nvGrpSpPr>
        <p:grpSpPr>
          <a:xfrm>
            <a:off x="4299109" y="1113326"/>
            <a:ext cx="6680201" cy="738424"/>
            <a:chOff x="4229659" y="1113326"/>
            <a:chExt cx="6680201" cy="73842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153725B8-0C53-4DA8-B643-33D5429545D9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DC3F78C-9956-4491-96D5-7F6083C04520}"/>
                </a:ext>
              </a:extLst>
            </p:cNvPr>
            <p:cNvSpPr/>
            <p:nvPr/>
          </p:nvSpPr>
          <p:spPr>
            <a:xfrm>
              <a:off x="4229659" y="1113326"/>
              <a:ext cx="462819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ise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lace de la page qui </a:t>
              </a:r>
              <a:r>
                <a:rPr lang="en-IN" sz="1800" b="1" i="1" dirty="0" err="1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tient</a:t>
              </a:r>
              <a:r>
                <a:rPr lang="en-IN" sz="1800" b="1" i="1" dirty="0" smtClean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le menu</a:t>
              </a:r>
              <a:endParaRPr lang="en-US" i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F510298-8A2A-4DA5-AB9F-1727FA20CFA5}"/>
              </a:ext>
            </a:extLst>
          </p:cNvPr>
          <p:cNvSpPr/>
          <p:nvPr/>
        </p:nvSpPr>
        <p:spPr>
          <a:xfrm>
            <a:off x="5359655" y="2303077"/>
            <a:ext cx="31941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ière</a:t>
            </a:r>
            <a:endParaRPr lang="en-US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0445A05D-8006-4312-AE25-B566B4CD89DA}"/>
              </a:ext>
            </a:extLst>
          </p:cNvPr>
          <p:cNvSpPr/>
          <p:nvPr/>
        </p:nvSpPr>
        <p:spPr>
          <a:xfrm>
            <a:off x="6064601" y="3462050"/>
            <a:ext cx="34419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étudiant</a:t>
            </a:r>
            <a:endParaRPr lang="en-US" sz="1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E9E6B00-BED9-4032-9276-8C9F442967AF}"/>
              </a:ext>
            </a:extLst>
          </p:cNvPr>
          <p:cNvSpPr/>
          <p:nvPr/>
        </p:nvSpPr>
        <p:spPr>
          <a:xfrm>
            <a:off x="5359655" y="4601690"/>
            <a:ext cx="36343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e</a:t>
            </a:r>
            <a:r>
              <a:rPr lang="en-I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dirty="0" err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IN" sz="18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lace de la page </a:t>
            </a:r>
            <a:r>
              <a:rPr lang="en-IN" sz="1800" b="1" dirty="0" err="1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tilisateur</a:t>
            </a:r>
            <a:endParaRPr lang="en-US" sz="18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981C4C1C-AA86-44F5-822A-24C9D5518BD8}"/>
              </a:ext>
            </a:extLst>
          </p:cNvPr>
          <p:cNvSpPr/>
          <p:nvPr/>
        </p:nvSpPr>
        <p:spPr>
          <a:xfrm>
            <a:off x="4499637" y="5741330"/>
            <a:ext cx="2916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écurisation</a:t>
            </a:r>
            <a:r>
              <a:rPr lang="en-IN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ar session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23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BE&quot; g=&quot;78&quot; b=&quot;8E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muthan G\Documents\WIP\07 Nov\Etihad Aviation Group_CF_AE0224.po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tihad Aviation Group_CF_AE0224">
  <a:themeElements>
    <a:clrScheme name="Decath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2B5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90</Words>
  <Application>Microsoft Office PowerPoint</Application>
  <PresentationFormat>Grand écran</PresentationFormat>
  <Paragraphs>131</Paragraphs>
  <Slides>15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Open Sans</vt:lpstr>
      <vt:lpstr>Times New Roman</vt:lpstr>
      <vt:lpstr>Titillium</vt:lpstr>
      <vt:lpstr>Etihad Aviation Group_CF_AE0224</vt:lpstr>
      <vt:lpstr>think-cell Slide</vt:lpstr>
      <vt:lpstr>Présentation PowerPoint</vt:lpstr>
      <vt:lpstr>Introduction</vt:lpstr>
      <vt:lpstr>Présentation PowerPoint</vt:lpstr>
      <vt:lpstr>Présentation PowerPoint</vt:lpstr>
      <vt:lpstr>Les outils utilisés pour mettre en place ce projet: </vt:lpstr>
      <vt:lpstr>Plan</vt:lpstr>
      <vt:lpstr>Plan</vt:lpstr>
      <vt:lpstr>Plan</vt:lpstr>
      <vt:lpstr>Plan</vt:lpstr>
      <vt:lpstr>Plan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7-03T03:53:27Z</dcterms:created>
  <dcterms:modified xsi:type="dcterms:W3CDTF">2019-04-14T22:12:38Z</dcterms:modified>
  <cp:category/>
  <cp:contentStatus/>
  <dc:language/>
  <cp:version/>
</cp:coreProperties>
</file>